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2.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0" r:id="rId3"/>
    <p:sldMasterId id="2147483679" r:id="rId4"/>
    <p:sldMasterId id="2147483686" r:id="rId5"/>
    <p:sldMasterId id="2147483692" r:id="rId6"/>
    <p:sldMasterId id="2147483707" r:id="rId7"/>
  </p:sldMasterIdLst>
  <p:notesMasterIdLst>
    <p:notesMasterId r:id="rId60"/>
  </p:notesMasterIdLst>
  <p:sldIdLst>
    <p:sldId id="256" r:id="rId8"/>
    <p:sldId id="504" r:id="rId9"/>
    <p:sldId id="684" r:id="rId10"/>
    <p:sldId id="876" r:id="rId11"/>
    <p:sldId id="2085" r:id="rId12"/>
    <p:sldId id="2086" r:id="rId13"/>
    <p:sldId id="812" r:id="rId14"/>
    <p:sldId id="2091" r:id="rId15"/>
    <p:sldId id="1867" r:id="rId16"/>
    <p:sldId id="494" r:id="rId17"/>
    <p:sldId id="655" r:id="rId18"/>
    <p:sldId id="1902" r:id="rId19"/>
    <p:sldId id="740" r:id="rId20"/>
    <p:sldId id="1903" r:id="rId21"/>
    <p:sldId id="2087" r:id="rId22"/>
    <p:sldId id="257" r:id="rId23"/>
    <p:sldId id="258" r:id="rId24"/>
    <p:sldId id="259" r:id="rId25"/>
    <p:sldId id="260" r:id="rId26"/>
    <p:sldId id="1904" r:id="rId27"/>
    <p:sldId id="1781" r:id="rId28"/>
    <p:sldId id="2063" r:id="rId29"/>
    <p:sldId id="2070" r:id="rId30"/>
    <p:sldId id="2075" r:id="rId31"/>
    <p:sldId id="2078" r:id="rId32"/>
    <p:sldId id="2081" r:id="rId33"/>
    <p:sldId id="1691" r:id="rId34"/>
    <p:sldId id="1905" r:id="rId35"/>
    <p:sldId id="2088" r:id="rId36"/>
    <p:sldId id="2089" r:id="rId37"/>
    <p:sldId id="1906" r:id="rId38"/>
    <p:sldId id="2083" r:id="rId39"/>
    <p:sldId id="2082" r:id="rId40"/>
    <p:sldId id="2084" r:id="rId41"/>
    <p:sldId id="1907" r:id="rId42"/>
    <p:sldId id="2092" r:id="rId43"/>
    <p:sldId id="2093" r:id="rId44"/>
    <p:sldId id="2094" r:id="rId45"/>
    <p:sldId id="2095" r:id="rId46"/>
    <p:sldId id="2096" r:id="rId47"/>
    <p:sldId id="2097" r:id="rId48"/>
    <p:sldId id="2099" r:id="rId49"/>
    <p:sldId id="2100" r:id="rId50"/>
    <p:sldId id="2101" r:id="rId51"/>
    <p:sldId id="2102" r:id="rId52"/>
    <p:sldId id="2103" r:id="rId53"/>
    <p:sldId id="2104" r:id="rId54"/>
    <p:sldId id="2106" r:id="rId55"/>
    <p:sldId id="2107" r:id="rId56"/>
    <p:sldId id="2108" r:id="rId57"/>
    <p:sldId id="2109" r:id="rId58"/>
    <p:sldId id="373" r:id="rId59"/>
  </p:sldIdLst>
  <p:sldSz cx="12192000" cy="6858000"/>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454AE4BC-B66C-4C75-813A-C55C80C338C9}">
          <p14:sldIdLst>
            <p14:sldId id="256"/>
            <p14:sldId id="504"/>
            <p14:sldId id="684"/>
            <p14:sldId id="876"/>
            <p14:sldId id="2085"/>
            <p14:sldId id="2086"/>
            <p14:sldId id="812"/>
            <p14:sldId id="2091"/>
            <p14:sldId id="1867"/>
            <p14:sldId id="494"/>
            <p14:sldId id="655"/>
            <p14:sldId id="1902"/>
            <p14:sldId id="740"/>
            <p14:sldId id="1903"/>
            <p14:sldId id="2087"/>
            <p14:sldId id="257"/>
            <p14:sldId id="258"/>
            <p14:sldId id="259"/>
            <p14:sldId id="260"/>
            <p14:sldId id="1904"/>
            <p14:sldId id="1781"/>
            <p14:sldId id="2063"/>
            <p14:sldId id="2070"/>
            <p14:sldId id="2075"/>
            <p14:sldId id="2078"/>
            <p14:sldId id="2081"/>
            <p14:sldId id="1691"/>
            <p14:sldId id="1905"/>
            <p14:sldId id="2088"/>
            <p14:sldId id="2089"/>
            <p14:sldId id="1906"/>
            <p14:sldId id="2083"/>
            <p14:sldId id="2082"/>
            <p14:sldId id="2084"/>
            <p14:sldId id="1907"/>
            <p14:sldId id="2092"/>
            <p14:sldId id="2093"/>
            <p14:sldId id="2094"/>
            <p14:sldId id="2095"/>
            <p14:sldId id="2096"/>
            <p14:sldId id="2097"/>
            <p14:sldId id="2099"/>
            <p14:sldId id="2100"/>
            <p14:sldId id="2101"/>
            <p14:sldId id="2102"/>
            <p14:sldId id="2103"/>
            <p14:sldId id="2104"/>
            <p14:sldId id="2106"/>
            <p14:sldId id="2107"/>
            <p14:sldId id="2108"/>
            <p14:sldId id="2109"/>
            <p14:sldId id="37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54997D-57F0-4C20-89BD-319398EA6426}" v="20" dt="2024-10-01T08:24:11.604"/>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86" autoAdjust="0"/>
    <p:restoredTop sz="94660"/>
  </p:normalViewPr>
  <p:slideViewPr>
    <p:cSldViewPr snapToGrid="0">
      <p:cViewPr varScale="1">
        <p:scale>
          <a:sx n="104" d="100"/>
          <a:sy n="104" d="100"/>
        </p:scale>
        <p:origin x="150" y="252"/>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65"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 Solvind" userId="e90a48f4-1cf5-48a2-a964-a4aae31414c1" providerId="ADAL" clId="{7454997D-57F0-4C20-89BD-319398EA6426}"/>
    <pc:docChg chg="undo custSel addSld delSld modSld sldOrd delMainMaster modSection">
      <pc:chgData name="Emil Solvind" userId="e90a48f4-1cf5-48a2-a964-a4aae31414c1" providerId="ADAL" clId="{7454997D-57F0-4C20-89BD-319398EA6426}" dt="2024-10-01T08:24:14.334" v="2282" actId="26606"/>
      <pc:docMkLst>
        <pc:docMk/>
      </pc:docMkLst>
      <pc:sldChg chg="modSp mod">
        <pc:chgData name="Emil Solvind" userId="e90a48f4-1cf5-48a2-a964-a4aae31414c1" providerId="ADAL" clId="{7454997D-57F0-4C20-89BD-319398EA6426}" dt="2024-09-24T08:24:40.828" v="4" actId="20577"/>
        <pc:sldMkLst>
          <pc:docMk/>
          <pc:sldMk cId="978948870" sldId="256"/>
        </pc:sldMkLst>
        <pc:spChg chg="mod">
          <ac:chgData name="Emil Solvind" userId="e90a48f4-1cf5-48a2-a964-a4aae31414c1" providerId="ADAL" clId="{7454997D-57F0-4C20-89BD-319398EA6426}" dt="2024-09-24T08:24:40.828" v="4" actId="20577"/>
          <ac:spMkLst>
            <pc:docMk/>
            <pc:sldMk cId="978948870" sldId="256"/>
            <ac:spMk id="3" creationId="{CE5BF6C3-7E5F-4F97-A443-E94353FEDA53}"/>
          </ac:spMkLst>
        </pc:spChg>
      </pc:sldChg>
      <pc:sldChg chg="del">
        <pc:chgData name="Emil Solvind" userId="e90a48f4-1cf5-48a2-a964-a4aae31414c1" providerId="ADAL" clId="{7454997D-57F0-4C20-89BD-319398EA6426}" dt="2024-09-24T08:28:21.736" v="194" actId="47"/>
        <pc:sldMkLst>
          <pc:docMk/>
          <pc:sldMk cId="3499729732" sldId="261"/>
        </pc:sldMkLst>
      </pc:sldChg>
      <pc:sldChg chg="del">
        <pc:chgData name="Emil Solvind" userId="e90a48f4-1cf5-48a2-a964-a4aae31414c1" providerId="ADAL" clId="{7454997D-57F0-4C20-89BD-319398EA6426}" dt="2024-09-24T08:28:20.007" v="192" actId="47"/>
        <pc:sldMkLst>
          <pc:docMk/>
          <pc:sldMk cId="763203787" sldId="272"/>
        </pc:sldMkLst>
      </pc:sldChg>
      <pc:sldChg chg="del">
        <pc:chgData name="Emil Solvind" userId="e90a48f4-1cf5-48a2-a964-a4aae31414c1" providerId="ADAL" clId="{7454997D-57F0-4C20-89BD-319398EA6426}" dt="2024-09-24T08:28:18.613" v="191" actId="47"/>
        <pc:sldMkLst>
          <pc:docMk/>
          <pc:sldMk cId="3381113553" sldId="310"/>
        </pc:sldMkLst>
      </pc:sldChg>
      <pc:sldChg chg="addSp delSp modSp mod">
        <pc:chgData name="Emil Solvind" userId="e90a48f4-1cf5-48a2-a964-a4aae31414c1" providerId="ADAL" clId="{7454997D-57F0-4C20-89BD-319398EA6426}" dt="2024-09-24T12:05:59.893" v="802" actId="20577"/>
        <pc:sldMkLst>
          <pc:docMk/>
          <pc:sldMk cId="3191469662" sldId="494"/>
        </pc:sldMkLst>
        <pc:spChg chg="mod">
          <ac:chgData name="Emil Solvind" userId="e90a48f4-1cf5-48a2-a964-a4aae31414c1" providerId="ADAL" clId="{7454997D-57F0-4C20-89BD-319398EA6426}" dt="2024-09-24T12:05:59.893" v="802" actId="20577"/>
          <ac:spMkLst>
            <pc:docMk/>
            <pc:sldMk cId="3191469662" sldId="494"/>
            <ac:spMk id="2" creationId="{39462324-7EF1-4F62-ACD5-67B457538559}"/>
          </ac:spMkLst>
        </pc:spChg>
        <pc:graphicFrameChg chg="add mod">
          <ac:chgData name="Emil Solvind" userId="e90a48f4-1cf5-48a2-a964-a4aae31414c1" providerId="ADAL" clId="{7454997D-57F0-4C20-89BD-319398EA6426}" dt="2024-09-24T12:05:56.059" v="795" actId="1076"/>
          <ac:graphicFrameMkLst>
            <pc:docMk/>
            <pc:sldMk cId="3191469662" sldId="494"/>
            <ac:graphicFrameMk id="3" creationId="{B3BDF9A1-DDA6-59C3-0FCC-86ABDB5B0761}"/>
          </ac:graphicFrameMkLst>
        </pc:graphicFrameChg>
        <pc:graphicFrameChg chg="del">
          <ac:chgData name="Emil Solvind" userId="e90a48f4-1cf5-48a2-a964-a4aae31414c1" providerId="ADAL" clId="{7454997D-57F0-4C20-89BD-319398EA6426}" dt="2024-09-24T12:05:33.412" v="792" actId="478"/>
          <ac:graphicFrameMkLst>
            <pc:docMk/>
            <pc:sldMk cId="3191469662" sldId="494"/>
            <ac:graphicFrameMk id="5" creationId="{8704DC4F-851E-FC5C-BEED-ADBF4090C153}"/>
          </ac:graphicFrameMkLst>
        </pc:graphicFrameChg>
      </pc:sldChg>
      <pc:sldChg chg="addSp delSp modSp mod">
        <pc:chgData name="Emil Solvind" userId="e90a48f4-1cf5-48a2-a964-a4aae31414c1" providerId="ADAL" clId="{7454997D-57F0-4C20-89BD-319398EA6426}" dt="2024-10-01T08:24:14.334" v="2282" actId="26606"/>
        <pc:sldMkLst>
          <pc:docMk/>
          <pc:sldMk cId="21826989" sldId="655"/>
        </pc:sldMkLst>
        <pc:spChg chg="del">
          <ac:chgData name="Emil Solvind" userId="e90a48f4-1cf5-48a2-a964-a4aae31414c1" providerId="ADAL" clId="{7454997D-57F0-4C20-89BD-319398EA6426}" dt="2024-10-01T08:24:14.334" v="2282" actId="26606"/>
          <ac:spMkLst>
            <pc:docMk/>
            <pc:sldMk cId="21826989" sldId="655"/>
            <ac:spMk id="176" creationId="{AB8C311F-7253-4AED-9701-7FC0708C41C7}"/>
          </ac:spMkLst>
        </pc:spChg>
        <pc:spChg chg="del">
          <ac:chgData name="Emil Solvind" userId="e90a48f4-1cf5-48a2-a964-a4aae31414c1" providerId="ADAL" clId="{7454997D-57F0-4C20-89BD-319398EA6426}" dt="2024-10-01T08:24:14.334" v="2282" actId="26606"/>
          <ac:spMkLst>
            <pc:docMk/>
            <pc:sldMk cId="21826989" sldId="655"/>
            <ac:spMk id="178" creationId="{E2384209-CB15-4CDF-9D31-C44FD9A3F20D}"/>
          </ac:spMkLst>
        </pc:spChg>
        <pc:spChg chg="del">
          <ac:chgData name="Emil Solvind" userId="e90a48f4-1cf5-48a2-a964-a4aae31414c1" providerId="ADAL" clId="{7454997D-57F0-4C20-89BD-319398EA6426}" dt="2024-10-01T08:24:14.334" v="2282" actId="26606"/>
          <ac:spMkLst>
            <pc:docMk/>
            <pc:sldMk cId="21826989" sldId="655"/>
            <ac:spMk id="180" creationId="{2633B3B5-CC90-43F0-8714-D31D1F3F0209}"/>
          </ac:spMkLst>
        </pc:spChg>
        <pc:spChg chg="del">
          <ac:chgData name="Emil Solvind" userId="e90a48f4-1cf5-48a2-a964-a4aae31414c1" providerId="ADAL" clId="{7454997D-57F0-4C20-89BD-319398EA6426}" dt="2024-10-01T08:24:14.334" v="2282" actId="26606"/>
          <ac:spMkLst>
            <pc:docMk/>
            <pc:sldMk cId="21826989" sldId="655"/>
            <ac:spMk id="182" creationId="{A8D57A06-A426-446D-B02C-A2DC6B62E45E}"/>
          </ac:spMkLst>
        </pc:spChg>
        <pc:spChg chg="add">
          <ac:chgData name="Emil Solvind" userId="e90a48f4-1cf5-48a2-a964-a4aae31414c1" providerId="ADAL" clId="{7454997D-57F0-4C20-89BD-319398EA6426}" dt="2024-10-01T08:24:14.334" v="2282" actId="26606"/>
          <ac:spMkLst>
            <pc:docMk/>
            <pc:sldMk cId="21826989" sldId="655"/>
            <ac:spMk id="187" creationId="{AB8C311F-7253-4AED-9701-7FC0708C41C7}"/>
          </ac:spMkLst>
        </pc:spChg>
        <pc:spChg chg="add">
          <ac:chgData name="Emil Solvind" userId="e90a48f4-1cf5-48a2-a964-a4aae31414c1" providerId="ADAL" clId="{7454997D-57F0-4C20-89BD-319398EA6426}" dt="2024-10-01T08:24:14.334" v="2282" actId="26606"/>
          <ac:spMkLst>
            <pc:docMk/>
            <pc:sldMk cId="21826989" sldId="655"/>
            <ac:spMk id="189" creationId="{E2384209-CB15-4CDF-9D31-C44FD9A3F20D}"/>
          </ac:spMkLst>
        </pc:spChg>
        <pc:spChg chg="add">
          <ac:chgData name="Emil Solvind" userId="e90a48f4-1cf5-48a2-a964-a4aae31414c1" providerId="ADAL" clId="{7454997D-57F0-4C20-89BD-319398EA6426}" dt="2024-10-01T08:24:14.334" v="2282" actId="26606"/>
          <ac:spMkLst>
            <pc:docMk/>
            <pc:sldMk cId="21826989" sldId="655"/>
            <ac:spMk id="191" creationId="{2633B3B5-CC90-43F0-8714-D31D1F3F0209}"/>
          </ac:spMkLst>
        </pc:spChg>
        <pc:spChg chg="add">
          <ac:chgData name="Emil Solvind" userId="e90a48f4-1cf5-48a2-a964-a4aae31414c1" providerId="ADAL" clId="{7454997D-57F0-4C20-89BD-319398EA6426}" dt="2024-10-01T08:24:14.334" v="2282" actId="26606"/>
          <ac:spMkLst>
            <pc:docMk/>
            <pc:sldMk cId="21826989" sldId="655"/>
            <ac:spMk id="193" creationId="{A8D57A06-A426-446D-B02C-A2DC6B62E45E}"/>
          </ac:spMkLst>
        </pc:spChg>
        <pc:picChg chg="del">
          <ac:chgData name="Emil Solvind" userId="e90a48f4-1cf5-48a2-a964-a4aae31414c1" providerId="ADAL" clId="{7454997D-57F0-4C20-89BD-319398EA6426}" dt="2024-09-24T10:04:53.094" v="220" actId="478"/>
          <ac:picMkLst>
            <pc:docMk/>
            <pc:sldMk cId="21826989" sldId="655"/>
            <ac:picMk id="3" creationId="{01EA204F-011D-BCE5-9363-523653ACAE3F}"/>
          </ac:picMkLst>
        </pc:picChg>
        <pc:picChg chg="add mod">
          <ac:chgData name="Emil Solvind" userId="e90a48f4-1cf5-48a2-a964-a4aae31414c1" providerId="ADAL" clId="{7454997D-57F0-4C20-89BD-319398EA6426}" dt="2024-10-01T08:24:14.334" v="2282" actId="26606"/>
          <ac:picMkLst>
            <pc:docMk/>
            <pc:sldMk cId="21826989" sldId="655"/>
            <ac:picMk id="3" creationId="{8BD68CDA-7760-A67C-6172-A54AF9E01AF3}"/>
          </ac:picMkLst>
        </pc:picChg>
      </pc:sldChg>
      <pc:sldChg chg="modSp mod">
        <pc:chgData name="Emil Solvind" userId="e90a48f4-1cf5-48a2-a964-a4aae31414c1" providerId="ADAL" clId="{7454997D-57F0-4C20-89BD-319398EA6426}" dt="2024-09-24T08:27:04.917" v="171" actId="20577"/>
        <pc:sldMkLst>
          <pc:docMk/>
          <pc:sldMk cId="1871715937" sldId="684"/>
        </pc:sldMkLst>
        <pc:spChg chg="mod">
          <ac:chgData name="Emil Solvind" userId="e90a48f4-1cf5-48a2-a964-a4aae31414c1" providerId="ADAL" clId="{7454997D-57F0-4C20-89BD-319398EA6426}" dt="2024-09-24T08:27:04.917" v="171" actId="20577"/>
          <ac:spMkLst>
            <pc:docMk/>
            <pc:sldMk cId="1871715937" sldId="684"/>
            <ac:spMk id="27" creationId="{4A166162-27CF-4BB5-A3B4-02AF290994A7}"/>
          </ac:spMkLst>
        </pc:spChg>
      </pc:sldChg>
      <pc:sldChg chg="modSp mod">
        <pc:chgData name="Emil Solvind" userId="e90a48f4-1cf5-48a2-a964-a4aae31414c1" providerId="ADAL" clId="{7454997D-57F0-4C20-89BD-319398EA6426}" dt="2024-09-26T12:05:28.095" v="2276"/>
        <pc:sldMkLst>
          <pc:docMk/>
          <pc:sldMk cId="2664655220" sldId="812"/>
        </pc:sldMkLst>
        <pc:spChg chg="mod">
          <ac:chgData name="Emil Solvind" userId="e90a48f4-1cf5-48a2-a964-a4aae31414c1" providerId="ADAL" clId="{7454997D-57F0-4C20-89BD-319398EA6426}" dt="2024-09-25T07:44:52.116" v="852" actId="20577"/>
          <ac:spMkLst>
            <pc:docMk/>
            <pc:sldMk cId="2664655220" sldId="812"/>
            <ac:spMk id="2" creationId="{A843C9E2-5F45-9CDF-8B06-08BF032E1470}"/>
          </ac:spMkLst>
        </pc:spChg>
        <pc:spChg chg="mod">
          <ac:chgData name="Emil Solvind" userId="e90a48f4-1cf5-48a2-a964-a4aae31414c1" providerId="ADAL" clId="{7454997D-57F0-4C20-89BD-319398EA6426}" dt="2024-09-26T12:05:28.095" v="2276"/>
          <ac:spMkLst>
            <pc:docMk/>
            <pc:sldMk cId="2664655220" sldId="812"/>
            <ac:spMk id="3" creationId="{1670C31F-D5AD-F35A-852C-A1DBA76DC0FC}"/>
          </ac:spMkLst>
        </pc:spChg>
      </pc:sldChg>
      <pc:sldChg chg="del">
        <pc:chgData name="Emil Solvind" userId="e90a48f4-1cf5-48a2-a964-a4aae31414c1" providerId="ADAL" clId="{7454997D-57F0-4C20-89BD-319398EA6426}" dt="2024-09-24T08:28:21.021" v="193" actId="47"/>
        <pc:sldMkLst>
          <pc:docMk/>
          <pc:sldMk cId="263853945" sldId="845"/>
        </pc:sldMkLst>
      </pc:sldChg>
      <pc:sldChg chg="del">
        <pc:chgData name="Emil Solvind" userId="e90a48f4-1cf5-48a2-a964-a4aae31414c1" providerId="ADAL" clId="{7454997D-57F0-4C20-89BD-319398EA6426}" dt="2024-09-24T08:28:16.864" v="190" actId="47"/>
        <pc:sldMkLst>
          <pc:docMk/>
          <pc:sldMk cId="398865638" sldId="846"/>
        </pc:sldMkLst>
      </pc:sldChg>
      <pc:sldChg chg="del">
        <pc:chgData name="Emil Solvind" userId="e90a48f4-1cf5-48a2-a964-a4aae31414c1" providerId="ADAL" clId="{7454997D-57F0-4C20-89BD-319398EA6426}" dt="2024-09-24T08:29:44.328" v="214" actId="47"/>
        <pc:sldMkLst>
          <pc:docMk/>
          <pc:sldMk cId="1851220760" sldId="1691"/>
        </pc:sldMkLst>
      </pc:sldChg>
      <pc:sldChg chg="del">
        <pc:chgData name="Emil Solvind" userId="e90a48f4-1cf5-48a2-a964-a4aae31414c1" providerId="ADAL" clId="{7454997D-57F0-4C20-89BD-319398EA6426}" dt="2024-09-24T08:29:47.255" v="218" actId="47"/>
        <pc:sldMkLst>
          <pc:docMk/>
          <pc:sldMk cId="3615628557" sldId="1692"/>
        </pc:sldMkLst>
      </pc:sldChg>
      <pc:sldChg chg="del">
        <pc:chgData name="Emil Solvind" userId="e90a48f4-1cf5-48a2-a964-a4aae31414c1" providerId="ADAL" clId="{7454997D-57F0-4C20-89BD-319398EA6426}" dt="2024-09-24T08:27:57.743" v="184" actId="47"/>
        <pc:sldMkLst>
          <pc:docMk/>
          <pc:sldMk cId="1123798683" sldId="1793"/>
        </pc:sldMkLst>
      </pc:sldChg>
      <pc:sldChg chg="del">
        <pc:chgData name="Emil Solvind" userId="e90a48f4-1cf5-48a2-a964-a4aae31414c1" providerId="ADAL" clId="{7454997D-57F0-4C20-89BD-319398EA6426}" dt="2024-09-24T08:27:58.658" v="185" actId="47"/>
        <pc:sldMkLst>
          <pc:docMk/>
          <pc:sldMk cId="3581251849" sldId="1794"/>
        </pc:sldMkLst>
      </pc:sldChg>
      <pc:sldChg chg="del">
        <pc:chgData name="Emil Solvind" userId="e90a48f4-1cf5-48a2-a964-a4aae31414c1" providerId="ADAL" clId="{7454997D-57F0-4C20-89BD-319398EA6426}" dt="2024-09-24T08:29:46.655" v="217" actId="47"/>
        <pc:sldMkLst>
          <pc:docMk/>
          <pc:sldMk cId="1491852013" sldId="1849"/>
        </pc:sldMkLst>
      </pc:sldChg>
      <pc:sldChg chg="del">
        <pc:chgData name="Emil Solvind" userId="e90a48f4-1cf5-48a2-a964-a4aae31414c1" providerId="ADAL" clId="{7454997D-57F0-4C20-89BD-319398EA6426}" dt="2024-09-24T08:29:47.914" v="219" actId="47"/>
        <pc:sldMkLst>
          <pc:docMk/>
          <pc:sldMk cId="2227797904" sldId="1850"/>
        </pc:sldMkLst>
      </pc:sldChg>
      <pc:sldChg chg="del">
        <pc:chgData name="Emil Solvind" userId="e90a48f4-1cf5-48a2-a964-a4aae31414c1" providerId="ADAL" clId="{7454997D-57F0-4C20-89BD-319398EA6426}" dt="2024-09-24T08:29:42.688" v="212" actId="47"/>
        <pc:sldMkLst>
          <pc:docMk/>
          <pc:sldMk cId="1098008291" sldId="1866"/>
        </pc:sldMkLst>
      </pc:sldChg>
      <pc:sldChg chg="del">
        <pc:chgData name="Emil Solvind" userId="e90a48f4-1cf5-48a2-a964-a4aae31414c1" providerId="ADAL" clId="{7454997D-57F0-4C20-89BD-319398EA6426}" dt="2024-09-24T08:29:43.347" v="213" actId="47"/>
        <pc:sldMkLst>
          <pc:docMk/>
          <pc:sldMk cId="2776417591" sldId="1868"/>
        </pc:sldMkLst>
      </pc:sldChg>
      <pc:sldChg chg="del">
        <pc:chgData name="Emil Solvind" userId="e90a48f4-1cf5-48a2-a964-a4aae31414c1" providerId="ADAL" clId="{7454997D-57F0-4C20-89BD-319398EA6426}" dt="2024-09-24T08:29:45.269" v="215" actId="47"/>
        <pc:sldMkLst>
          <pc:docMk/>
          <pc:sldMk cId="4167493885" sldId="1871"/>
        </pc:sldMkLst>
      </pc:sldChg>
      <pc:sldChg chg="del">
        <pc:chgData name="Emil Solvind" userId="e90a48f4-1cf5-48a2-a964-a4aae31414c1" providerId="ADAL" clId="{7454997D-57F0-4C20-89BD-319398EA6426}" dt="2024-09-24T08:29:46.056" v="216" actId="47"/>
        <pc:sldMkLst>
          <pc:docMk/>
          <pc:sldMk cId="2828003116" sldId="1875"/>
        </pc:sldMkLst>
      </pc:sldChg>
      <pc:sldChg chg="del">
        <pc:chgData name="Emil Solvind" userId="e90a48f4-1cf5-48a2-a964-a4aae31414c1" providerId="ADAL" clId="{7454997D-57F0-4C20-89BD-319398EA6426}" dt="2024-09-24T08:27:26.774" v="175" actId="47"/>
        <pc:sldMkLst>
          <pc:docMk/>
          <pc:sldMk cId="2715520334" sldId="1893"/>
        </pc:sldMkLst>
      </pc:sldChg>
      <pc:sldChg chg="del">
        <pc:chgData name="Emil Solvind" userId="e90a48f4-1cf5-48a2-a964-a4aae31414c1" providerId="ADAL" clId="{7454997D-57F0-4C20-89BD-319398EA6426}" dt="2024-09-24T08:27:44.137" v="181" actId="47"/>
        <pc:sldMkLst>
          <pc:docMk/>
          <pc:sldMk cId="2827221670" sldId="1894"/>
        </pc:sldMkLst>
      </pc:sldChg>
      <pc:sldChg chg="del">
        <pc:chgData name="Emil Solvind" userId="e90a48f4-1cf5-48a2-a964-a4aae31414c1" providerId="ADAL" clId="{7454997D-57F0-4C20-89BD-319398EA6426}" dt="2024-09-24T08:28:06.481" v="187" actId="47"/>
        <pc:sldMkLst>
          <pc:docMk/>
          <pc:sldMk cId="4190121193" sldId="1895"/>
        </pc:sldMkLst>
      </pc:sldChg>
      <pc:sldChg chg="del">
        <pc:chgData name="Emil Solvind" userId="e90a48f4-1cf5-48a2-a964-a4aae31414c1" providerId="ADAL" clId="{7454997D-57F0-4C20-89BD-319398EA6426}" dt="2024-09-24T08:28:41.135" v="198" actId="47"/>
        <pc:sldMkLst>
          <pc:docMk/>
          <pc:sldMk cId="2210911550" sldId="1896"/>
        </pc:sldMkLst>
      </pc:sldChg>
      <pc:sldChg chg="del">
        <pc:chgData name="Emil Solvind" userId="e90a48f4-1cf5-48a2-a964-a4aae31414c1" providerId="ADAL" clId="{7454997D-57F0-4C20-89BD-319398EA6426}" dt="2024-09-24T08:29:03.525" v="206" actId="47"/>
        <pc:sldMkLst>
          <pc:docMk/>
          <pc:sldMk cId="234019700" sldId="1897"/>
        </pc:sldMkLst>
      </pc:sldChg>
      <pc:sldChg chg="del">
        <pc:chgData name="Emil Solvind" userId="e90a48f4-1cf5-48a2-a964-a4aae31414c1" providerId="ADAL" clId="{7454997D-57F0-4C20-89BD-319398EA6426}" dt="2024-09-24T08:28:43.583" v="200" actId="47"/>
        <pc:sldMkLst>
          <pc:docMk/>
          <pc:sldMk cId="1887337526" sldId="1898"/>
        </pc:sldMkLst>
      </pc:sldChg>
      <pc:sldChg chg="del">
        <pc:chgData name="Emil Solvind" userId="e90a48f4-1cf5-48a2-a964-a4aae31414c1" providerId="ADAL" clId="{7454997D-57F0-4C20-89BD-319398EA6426}" dt="2024-09-24T08:28:42.791" v="199" actId="47"/>
        <pc:sldMkLst>
          <pc:docMk/>
          <pc:sldMk cId="3713328390" sldId="1899"/>
        </pc:sldMkLst>
      </pc:sldChg>
      <pc:sldChg chg="del">
        <pc:chgData name="Emil Solvind" userId="e90a48f4-1cf5-48a2-a964-a4aae31414c1" providerId="ADAL" clId="{7454997D-57F0-4C20-89BD-319398EA6426}" dt="2024-09-24T08:28:44.301" v="201" actId="47"/>
        <pc:sldMkLst>
          <pc:docMk/>
          <pc:sldMk cId="2443502640" sldId="1900"/>
        </pc:sldMkLst>
      </pc:sldChg>
      <pc:sldChg chg="del">
        <pc:chgData name="Emil Solvind" userId="e90a48f4-1cf5-48a2-a964-a4aae31414c1" providerId="ADAL" clId="{7454997D-57F0-4C20-89BD-319398EA6426}" dt="2024-09-24T08:28:45.094" v="202" actId="47"/>
        <pc:sldMkLst>
          <pc:docMk/>
          <pc:sldMk cId="3522064104" sldId="1901"/>
        </pc:sldMkLst>
      </pc:sldChg>
      <pc:sldChg chg="modSp add mod ord">
        <pc:chgData name="Emil Solvind" userId="e90a48f4-1cf5-48a2-a964-a4aae31414c1" providerId="ADAL" clId="{7454997D-57F0-4C20-89BD-319398EA6426}" dt="2024-09-24T08:27:34.330" v="177" actId="113"/>
        <pc:sldMkLst>
          <pc:docMk/>
          <pc:sldMk cId="2302926662" sldId="1902"/>
        </pc:sldMkLst>
        <pc:spChg chg="mod">
          <ac:chgData name="Emil Solvind" userId="e90a48f4-1cf5-48a2-a964-a4aae31414c1" providerId="ADAL" clId="{7454997D-57F0-4C20-89BD-319398EA6426}" dt="2024-09-24T08:27:34.330" v="177" actId="113"/>
          <ac:spMkLst>
            <pc:docMk/>
            <pc:sldMk cId="2302926662" sldId="1902"/>
            <ac:spMk id="27" creationId="{4A166162-27CF-4BB5-A3B4-02AF290994A7}"/>
          </ac:spMkLst>
        </pc:spChg>
      </pc:sldChg>
      <pc:sldChg chg="del">
        <pc:chgData name="Emil Solvind" userId="e90a48f4-1cf5-48a2-a964-a4aae31414c1" providerId="ADAL" clId="{7454997D-57F0-4C20-89BD-319398EA6426}" dt="2024-09-24T08:25:38.070" v="5" actId="47"/>
        <pc:sldMkLst>
          <pc:docMk/>
          <pc:sldMk cId="3429194236" sldId="1902"/>
        </pc:sldMkLst>
      </pc:sldChg>
      <pc:sldChg chg="modSp add mod ord">
        <pc:chgData name="Emil Solvind" userId="e90a48f4-1cf5-48a2-a964-a4aae31414c1" providerId="ADAL" clId="{7454997D-57F0-4C20-89BD-319398EA6426}" dt="2024-09-24T08:27:54.798" v="183" actId="113"/>
        <pc:sldMkLst>
          <pc:docMk/>
          <pc:sldMk cId="1893418586" sldId="1903"/>
        </pc:sldMkLst>
        <pc:spChg chg="mod">
          <ac:chgData name="Emil Solvind" userId="e90a48f4-1cf5-48a2-a964-a4aae31414c1" providerId="ADAL" clId="{7454997D-57F0-4C20-89BD-319398EA6426}" dt="2024-09-24T08:27:54.798" v="183" actId="113"/>
          <ac:spMkLst>
            <pc:docMk/>
            <pc:sldMk cId="1893418586" sldId="1903"/>
            <ac:spMk id="27" creationId="{4A166162-27CF-4BB5-A3B4-02AF290994A7}"/>
          </ac:spMkLst>
        </pc:spChg>
      </pc:sldChg>
      <pc:sldChg chg="del">
        <pc:chgData name="Emil Solvind" userId="e90a48f4-1cf5-48a2-a964-a4aae31414c1" providerId="ADAL" clId="{7454997D-57F0-4C20-89BD-319398EA6426}" dt="2024-09-24T08:25:42.038" v="6" actId="47"/>
        <pc:sldMkLst>
          <pc:docMk/>
          <pc:sldMk cId="2307193337" sldId="1903"/>
        </pc:sldMkLst>
      </pc:sldChg>
      <pc:sldChg chg="modSp add mod">
        <pc:chgData name="Emil Solvind" userId="e90a48f4-1cf5-48a2-a964-a4aae31414c1" providerId="ADAL" clId="{7454997D-57F0-4C20-89BD-319398EA6426}" dt="2024-09-24T08:28:12.679" v="189" actId="113"/>
        <pc:sldMkLst>
          <pc:docMk/>
          <pc:sldMk cId="348949161" sldId="1904"/>
        </pc:sldMkLst>
        <pc:spChg chg="mod">
          <ac:chgData name="Emil Solvind" userId="e90a48f4-1cf5-48a2-a964-a4aae31414c1" providerId="ADAL" clId="{7454997D-57F0-4C20-89BD-319398EA6426}" dt="2024-09-24T08:28:12.679" v="189" actId="113"/>
          <ac:spMkLst>
            <pc:docMk/>
            <pc:sldMk cId="348949161" sldId="1904"/>
            <ac:spMk id="27" creationId="{4A166162-27CF-4BB5-A3B4-02AF290994A7}"/>
          </ac:spMkLst>
        </pc:spChg>
      </pc:sldChg>
      <pc:sldChg chg="modSp add mod">
        <pc:chgData name="Emil Solvind" userId="e90a48f4-1cf5-48a2-a964-a4aae31414c1" providerId="ADAL" clId="{7454997D-57F0-4C20-89BD-319398EA6426}" dt="2024-09-24T08:28:36.868" v="197" actId="113"/>
        <pc:sldMkLst>
          <pc:docMk/>
          <pc:sldMk cId="3801205589" sldId="1905"/>
        </pc:sldMkLst>
        <pc:spChg chg="mod">
          <ac:chgData name="Emil Solvind" userId="e90a48f4-1cf5-48a2-a964-a4aae31414c1" providerId="ADAL" clId="{7454997D-57F0-4C20-89BD-319398EA6426}" dt="2024-09-24T08:28:36.868" v="197" actId="113"/>
          <ac:spMkLst>
            <pc:docMk/>
            <pc:sldMk cId="3801205589" sldId="1905"/>
            <ac:spMk id="27" creationId="{4A166162-27CF-4BB5-A3B4-02AF290994A7}"/>
          </ac:spMkLst>
        </pc:spChg>
      </pc:sldChg>
      <pc:sldChg chg="modSp add mod">
        <pc:chgData name="Emil Solvind" userId="e90a48f4-1cf5-48a2-a964-a4aae31414c1" providerId="ADAL" clId="{7454997D-57F0-4C20-89BD-319398EA6426}" dt="2024-09-24T08:28:57.422" v="205" actId="113"/>
        <pc:sldMkLst>
          <pc:docMk/>
          <pc:sldMk cId="1156709132" sldId="1906"/>
        </pc:sldMkLst>
        <pc:spChg chg="mod">
          <ac:chgData name="Emil Solvind" userId="e90a48f4-1cf5-48a2-a964-a4aae31414c1" providerId="ADAL" clId="{7454997D-57F0-4C20-89BD-319398EA6426}" dt="2024-09-24T08:28:57.422" v="205" actId="113"/>
          <ac:spMkLst>
            <pc:docMk/>
            <pc:sldMk cId="1156709132" sldId="1906"/>
            <ac:spMk id="27" creationId="{4A166162-27CF-4BB5-A3B4-02AF290994A7}"/>
          </ac:spMkLst>
        </pc:spChg>
      </pc:sldChg>
      <pc:sldChg chg="modSp add mod">
        <pc:chgData name="Emil Solvind" userId="e90a48f4-1cf5-48a2-a964-a4aae31414c1" providerId="ADAL" clId="{7454997D-57F0-4C20-89BD-319398EA6426}" dt="2024-09-24T08:29:15.530" v="209" actId="113"/>
        <pc:sldMkLst>
          <pc:docMk/>
          <pc:sldMk cId="2849457541" sldId="1907"/>
        </pc:sldMkLst>
        <pc:spChg chg="mod">
          <ac:chgData name="Emil Solvind" userId="e90a48f4-1cf5-48a2-a964-a4aae31414c1" providerId="ADAL" clId="{7454997D-57F0-4C20-89BD-319398EA6426}" dt="2024-09-24T08:29:15.530" v="209" actId="113"/>
          <ac:spMkLst>
            <pc:docMk/>
            <pc:sldMk cId="2849457541" sldId="1907"/>
            <ac:spMk id="27" creationId="{4A166162-27CF-4BB5-A3B4-02AF290994A7}"/>
          </ac:spMkLst>
        </pc:spChg>
      </pc:sldChg>
      <pc:sldChg chg="modSp add del mod">
        <pc:chgData name="Emil Solvind" userId="e90a48f4-1cf5-48a2-a964-a4aae31414c1" providerId="ADAL" clId="{7454997D-57F0-4C20-89BD-319398EA6426}" dt="2024-10-01T08:10:10.121" v="2278" actId="47"/>
        <pc:sldMkLst>
          <pc:docMk/>
          <pc:sldMk cId="819864634" sldId="1908"/>
        </pc:sldMkLst>
        <pc:spChg chg="mod">
          <ac:chgData name="Emil Solvind" userId="e90a48f4-1cf5-48a2-a964-a4aae31414c1" providerId="ADAL" clId="{7454997D-57F0-4C20-89BD-319398EA6426}" dt="2024-09-24T10:44:57.606" v="221" actId="113"/>
          <ac:spMkLst>
            <pc:docMk/>
            <pc:sldMk cId="819864634" sldId="1908"/>
            <ac:spMk id="27" creationId="{4A166162-27CF-4BB5-A3B4-02AF290994A7}"/>
          </ac:spMkLst>
        </pc:spChg>
      </pc:sldChg>
      <pc:sldChg chg="addSp delSp modSp new mod">
        <pc:chgData name="Emil Solvind" userId="e90a48f4-1cf5-48a2-a964-a4aae31414c1" providerId="ADAL" clId="{7454997D-57F0-4C20-89BD-319398EA6426}" dt="2024-09-24T10:49:12.517" v="347" actId="20577"/>
        <pc:sldMkLst>
          <pc:docMk/>
          <pc:sldMk cId="1297705986" sldId="2082"/>
        </pc:sldMkLst>
        <pc:spChg chg="mod">
          <ac:chgData name="Emil Solvind" userId="e90a48f4-1cf5-48a2-a964-a4aae31414c1" providerId="ADAL" clId="{7454997D-57F0-4C20-89BD-319398EA6426}" dt="2024-09-24T10:48:57.691" v="346" actId="255"/>
          <ac:spMkLst>
            <pc:docMk/>
            <pc:sldMk cId="1297705986" sldId="2082"/>
            <ac:spMk id="2" creationId="{35CBC1F6-36C8-42B4-60B3-22419596AE51}"/>
          </ac:spMkLst>
        </pc:spChg>
        <pc:spChg chg="del">
          <ac:chgData name="Emil Solvind" userId="e90a48f4-1cf5-48a2-a964-a4aae31414c1" providerId="ADAL" clId="{7454997D-57F0-4C20-89BD-319398EA6426}" dt="2024-09-24T10:45:50.770" v="224" actId="931"/>
          <ac:spMkLst>
            <pc:docMk/>
            <pc:sldMk cId="1297705986" sldId="2082"/>
            <ac:spMk id="3" creationId="{6D620BFD-50B6-09BA-5AF6-89FF9D5B17CA}"/>
          </ac:spMkLst>
        </pc:spChg>
        <pc:spChg chg="del mod">
          <ac:chgData name="Emil Solvind" userId="e90a48f4-1cf5-48a2-a964-a4aae31414c1" providerId="ADAL" clId="{7454997D-57F0-4C20-89BD-319398EA6426}" dt="2024-09-24T10:47:34.876" v="339" actId="26606"/>
          <ac:spMkLst>
            <pc:docMk/>
            <pc:sldMk cId="1297705986" sldId="2082"/>
            <ac:spMk id="4" creationId="{9F19D00C-9DC9-4A24-71D7-6FD8956B64B9}"/>
          </ac:spMkLst>
        </pc:spChg>
        <pc:graphicFrameChg chg="add mod">
          <ac:chgData name="Emil Solvind" userId="e90a48f4-1cf5-48a2-a964-a4aae31414c1" providerId="ADAL" clId="{7454997D-57F0-4C20-89BD-319398EA6426}" dt="2024-09-24T10:49:12.517" v="347" actId="20577"/>
          <ac:graphicFrameMkLst>
            <pc:docMk/>
            <pc:sldMk cId="1297705986" sldId="2082"/>
            <ac:graphicFrameMk id="8" creationId="{F5B14745-FD43-9702-CEF9-0131FA9EA296}"/>
          </ac:graphicFrameMkLst>
        </pc:graphicFrameChg>
        <pc:picChg chg="add mod">
          <ac:chgData name="Emil Solvind" userId="e90a48f4-1cf5-48a2-a964-a4aae31414c1" providerId="ADAL" clId="{7454997D-57F0-4C20-89BD-319398EA6426}" dt="2024-09-24T10:46:09.114" v="230" actId="14100"/>
          <ac:picMkLst>
            <pc:docMk/>
            <pc:sldMk cId="1297705986" sldId="2082"/>
            <ac:picMk id="6" creationId="{2ACA4FD1-014B-8C30-44CD-A16CA84B6F08}"/>
          </ac:picMkLst>
        </pc:picChg>
      </pc:sldChg>
      <pc:sldChg chg="addSp delSp modSp new mod ord setBg">
        <pc:chgData name="Emil Solvind" userId="e90a48f4-1cf5-48a2-a964-a4aae31414c1" providerId="ADAL" clId="{7454997D-57F0-4C20-89BD-319398EA6426}" dt="2024-09-24T10:52:18.134" v="614"/>
        <pc:sldMkLst>
          <pc:docMk/>
          <pc:sldMk cId="1075536517" sldId="2083"/>
        </pc:sldMkLst>
        <pc:spChg chg="mod">
          <ac:chgData name="Emil Solvind" userId="e90a48f4-1cf5-48a2-a964-a4aae31414c1" providerId="ADAL" clId="{7454997D-57F0-4C20-89BD-319398EA6426}" dt="2024-09-24T10:51:58.230" v="612" actId="26606"/>
          <ac:spMkLst>
            <pc:docMk/>
            <pc:sldMk cId="1075536517" sldId="2083"/>
            <ac:spMk id="2" creationId="{91F80482-79DB-21B6-DB25-E89460A55E63}"/>
          </ac:spMkLst>
        </pc:spChg>
        <pc:spChg chg="del mod">
          <ac:chgData name="Emil Solvind" userId="e90a48f4-1cf5-48a2-a964-a4aae31414c1" providerId="ADAL" clId="{7454997D-57F0-4C20-89BD-319398EA6426}" dt="2024-09-24T10:51:58.230" v="612" actId="26606"/>
          <ac:spMkLst>
            <pc:docMk/>
            <pc:sldMk cId="1075536517" sldId="2083"/>
            <ac:spMk id="3" creationId="{82CD9A97-D1CC-18CC-8A59-F2A2C534C00F}"/>
          </ac:spMkLst>
        </pc:spChg>
        <pc:spChg chg="add del">
          <ac:chgData name="Emil Solvind" userId="e90a48f4-1cf5-48a2-a964-a4aae31414c1" providerId="ADAL" clId="{7454997D-57F0-4C20-89BD-319398EA6426}" dt="2024-09-24T10:51:58.230" v="612" actId="26606"/>
          <ac:spMkLst>
            <pc:docMk/>
            <pc:sldMk cId="1075536517" sldId="2083"/>
            <ac:spMk id="10" creationId="{245A9F99-D9B1-4094-A2E2-B90AC1DB7B9C}"/>
          </ac:spMkLst>
        </pc:spChg>
        <pc:spChg chg="add del">
          <ac:chgData name="Emil Solvind" userId="e90a48f4-1cf5-48a2-a964-a4aae31414c1" providerId="ADAL" clId="{7454997D-57F0-4C20-89BD-319398EA6426}" dt="2024-09-24T10:51:58.230" v="612" actId="26606"/>
          <ac:spMkLst>
            <pc:docMk/>
            <pc:sldMk cId="1075536517" sldId="2083"/>
            <ac:spMk id="12" creationId="{B7FAF607-473A-4A43-A23D-BBFF5C4117BB}"/>
          </ac:spMkLst>
        </pc:spChg>
        <pc:spChg chg="add">
          <ac:chgData name="Emil Solvind" userId="e90a48f4-1cf5-48a2-a964-a4aae31414c1" providerId="ADAL" clId="{7454997D-57F0-4C20-89BD-319398EA6426}" dt="2024-09-24T10:51:58.230" v="612" actId="26606"/>
          <ac:spMkLst>
            <pc:docMk/>
            <pc:sldMk cId="1075536517" sldId="2083"/>
            <ac:spMk id="22" creationId="{19D32F93-50AC-4C46-A5DB-291C60DDB7BD}"/>
          </ac:spMkLst>
        </pc:spChg>
        <pc:spChg chg="add">
          <ac:chgData name="Emil Solvind" userId="e90a48f4-1cf5-48a2-a964-a4aae31414c1" providerId="ADAL" clId="{7454997D-57F0-4C20-89BD-319398EA6426}" dt="2024-09-24T10:51:58.230" v="612" actId="26606"/>
          <ac:spMkLst>
            <pc:docMk/>
            <pc:sldMk cId="1075536517" sldId="2083"/>
            <ac:spMk id="24" creationId="{827DC2C4-B485-428A-BF4A-472D2967F47F}"/>
          </ac:spMkLst>
        </pc:spChg>
        <pc:spChg chg="add">
          <ac:chgData name="Emil Solvind" userId="e90a48f4-1cf5-48a2-a964-a4aae31414c1" providerId="ADAL" clId="{7454997D-57F0-4C20-89BD-319398EA6426}" dt="2024-09-24T10:51:58.230" v="612" actId="26606"/>
          <ac:spMkLst>
            <pc:docMk/>
            <pc:sldMk cId="1075536517" sldId="2083"/>
            <ac:spMk id="26" creationId="{EE04B5EB-F158-4507-90DD-BD23620C7CC9}"/>
          </ac:spMkLst>
        </pc:spChg>
        <pc:grpChg chg="add del">
          <ac:chgData name="Emil Solvind" userId="e90a48f4-1cf5-48a2-a964-a4aae31414c1" providerId="ADAL" clId="{7454997D-57F0-4C20-89BD-319398EA6426}" dt="2024-09-24T10:51:58.230" v="612" actId="26606"/>
          <ac:grpSpMkLst>
            <pc:docMk/>
            <pc:sldMk cId="1075536517" sldId="2083"/>
            <ac:grpSpMk id="14" creationId="{C5F6476F-D303-44D3-B30F-1BA348F0F64A}"/>
          </ac:grpSpMkLst>
        </pc:grpChg>
        <pc:picChg chg="add mod">
          <ac:chgData name="Emil Solvind" userId="e90a48f4-1cf5-48a2-a964-a4aae31414c1" providerId="ADAL" clId="{7454997D-57F0-4C20-89BD-319398EA6426}" dt="2024-09-24T10:51:58.230" v="612" actId="26606"/>
          <ac:picMkLst>
            <pc:docMk/>
            <pc:sldMk cId="1075536517" sldId="2083"/>
            <ac:picMk id="7" creationId="{00BD59C9-CA54-BAD8-F953-8F0586889F4F}"/>
          </ac:picMkLst>
        </pc:picChg>
      </pc:sldChg>
      <pc:sldChg chg="addSp modSp new mod setBg">
        <pc:chgData name="Emil Solvind" userId="e90a48f4-1cf5-48a2-a964-a4aae31414c1" providerId="ADAL" clId="{7454997D-57F0-4C20-89BD-319398EA6426}" dt="2024-09-24T10:55:13.560" v="751" actId="26606"/>
        <pc:sldMkLst>
          <pc:docMk/>
          <pc:sldMk cId="3145492233" sldId="2084"/>
        </pc:sldMkLst>
        <pc:spChg chg="mod">
          <ac:chgData name="Emil Solvind" userId="e90a48f4-1cf5-48a2-a964-a4aae31414c1" providerId="ADAL" clId="{7454997D-57F0-4C20-89BD-319398EA6426}" dt="2024-09-24T10:55:13.560" v="751" actId="26606"/>
          <ac:spMkLst>
            <pc:docMk/>
            <pc:sldMk cId="3145492233" sldId="2084"/>
            <ac:spMk id="2" creationId="{22C259B0-ED4C-7EA0-DDF4-240C75157AA3}"/>
          </ac:spMkLst>
        </pc:spChg>
        <pc:spChg chg="mod">
          <ac:chgData name="Emil Solvind" userId="e90a48f4-1cf5-48a2-a964-a4aae31414c1" providerId="ADAL" clId="{7454997D-57F0-4C20-89BD-319398EA6426}" dt="2024-09-24T10:55:13.560" v="751" actId="26606"/>
          <ac:spMkLst>
            <pc:docMk/>
            <pc:sldMk cId="3145492233" sldId="2084"/>
            <ac:spMk id="3" creationId="{8784BDC2-E9F6-C3AC-D0F8-51125372F2E2}"/>
          </ac:spMkLst>
        </pc:spChg>
        <pc:spChg chg="add">
          <ac:chgData name="Emil Solvind" userId="e90a48f4-1cf5-48a2-a964-a4aae31414c1" providerId="ADAL" clId="{7454997D-57F0-4C20-89BD-319398EA6426}" dt="2024-09-24T10:55:13.560" v="751" actId="26606"/>
          <ac:spMkLst>
            <pc:docMk/>
            <pc:sldMk cId="3145492233" sldId="2084"/>
            <ac:spMk id="8" creationId="{081EA652-8C6A-4E69-BEB9-170809474553}"/>
          </ac:spMkLst>
        </pc:spChg>
        <pc:spChg chg="add">
          <ac:chgData name="Emil Solvind" userId="e90a48f4-1cf5-48a2-a964-a4aae31414c1" providerId="ADAL" clId="{7454997D-57F0-4C20-89BD-319398EA6426}" dt="2024-09-24T10:55:13.560" v="751" actId="26606"/>
          <ac:spMkLst>
            <pc:docMk/>
            <pc:sldMk cId="3145492233" sldId="2084"/>
            <ac:spMk id="10" creationId="{5298780A-33B9-4EA2-8F67-DE68AD62841B}"/>
          </ac:spMkLst>
        </pc:spChg>
        <pc:spChg chg="add">
          <ac:chgData name="Emil Solvind" userId="e90a48f4-1cf5-48a2-a964-a4aae31414c1" providerId="ADAL" clId="{7454997D-57F0-4C20-89BD-319398EA6426}" dt="2024-09-24T10:55:13.560" v="751" actId="26606"/>
          <ac:spMkLst>
            <pc:docMk/>
            <pc:sldMk cId="3145492233" sldId="2084"/>
            <ac:spMk id="12" creationId="{7F488E8B-4E1E-4402-8935-D4E6C02615C7}"/>
          </ac:spMkLst>
        </pc:spChg>
        <pc:cxnChg chg="add">
          <ac:chgData name="Emil Solvind" userId="e90a48f4-1cf5-48a2-a964-a4aae31414c1" providerId="ADAL" clId="{7454997D-57F0-4C20-89BD-319398EA6426}" dt="2024-09-24T10:55:13.560" v="751" actId="26606"/>
          <ac:cxnSpMkLst>
            <pc:docMk/>
            <pc:sldMk cId="3145492233" sldId="2084"/>
            <ac:cxnSpMk id="14" creationId="{23AAC9B5-8015-485C-ACF9-A750390E9A56}"/>
          </ac:cxnSpMkLst>
        </pc:cxnChg>
      </pc:sldChg>
      <pc:sldChg chg="new del">
        <pc:chgData name="Emil Solvind" userId="e90a48f4-1cf5-48a2-a964-a4aae31414c1" providerId="ADAL" clId="{7454997D-57F0-4C20-89BD-319398EA6426}" dt="2024-09-24T11:48:04.757" v="753" actId="47"/>
        <pc:sldMkLst>
          <pc:docMk/>
          <pc:sldMk cId="1774504485" sldId="2085"/>
        </pc:sldMkLst>
      </pc:sldChg>
      <pc:sldChg chg="addSp delSp modSp new mod setBg">
        <pc:chgData name="Emil Solvind" userId="e90a48f4-1cf5-48a2-a964-a4aae31414c1" providerId="ADAL" clId="{7454997D-57F0-4C20-89BD-319398EA6426}" dt="2024-09-24T11:48:33.713" v="791" actId="26606"/>
        <pc:sldMkLst>
          <pc:docMk/>
          <pc:sldMk cId="3705711618" sldId="2085"/>
        </pc:sldMkLst>
        <pc:spChg chg="mod">
          <ac:chgData name="Emil Solvind" userId="e90a48f4-1cf5-48a2-a964-a4aae31414c1" providerId="ADAL" clId="{7454997D-57F0-4C20-89BD-319398EA6426}" dt="2024-09-24T11:48:33.713" v="791" actId="26606"/>
          <ac:spMkLst>
            <pc:docMk/>
            <pc:sldMk cId="3705711618" sldId="2085"/>
            <ac:spMk id="2" creationId="{34419802-EF9A-3E0F-C0D1-83F001142E0A}"/>
          </ac:spMkLst>
        </pc:spChg>
        <pc:spChg chg="del">
          <ac:chgData name="Emil Solvind" userId="e90a48f4-1cf5-48a2-a964-a4aae31414c1" providerId="ADAL" clId="{7454997D-57F0-4C20-89BD-319398EA6426}" dt="2024-09-24T11:48:26.852" v="788" actId="931"/>
          <ac:spMkLst>
            <pc:docMk/>
            <pc:sldMk cId="3705711618" sldId="2085"/>
            <ac:spMk id="3" creationId="{C6415DAA-2B68-FFDE-E3D3-EAF9D205C743}"/>
          </ac:spMkLst>
        </pc:spChg>
        <pc:spChg chg="add">
          <ac:chgData name="Emil Solvind" userId="e90a48f4-1cf5-48a2-a964-a4aae31414c1" providerId="ADAL" clId="{7454997D-57F0-4C20-89BD-319398EA6426}" dt="2024-09-24T11:48:33.713" v="791" actId="26606"/>
          <ac:spMkLst>
            <pc:docMk/>
            <pc:sldMk cId="3705711618" sldId="2085"/>
            <ac:spMk id="10" creationId="{47942995-B07F-4636-9A06-C6A104B260A8}"/>
          </ac:spMkLst>
        </pc:spChg>
        <pc:spChg chg="add">
          <ac:chgData name="Emil Solvind" userId="e90a48f4-1cf5-48a2-a964-a4aae31414c1" providerId="ADAL" clId="{7454997D-57F0-4C20-89BD-319398EA6426}" dt="2024-09-24T11:48:33.713" v="791" actId="26606"/>
          <ac:spMkLst>
            <pc:docMk/>
            <pc:sldMk cId="3705711618" sldId="2085"/>
            <ac:spMk id="17" creationId="{B81933D1-5615-42C7-9C0B-4EB7105CCE2D}"/>
          </ac:spMkLst>
        </pc:spChg>
        <pc:spChg chg="add">
          <ac:chgData name="Emil Solvind" userId="e90a48f4-1cf5-48a2-a964-a4aae31414c1" providerId="ADAL" clId="{7454997D-57F0-4C20-89BD-319398EA6426}" dt="2024-09-24T11:48:33.713" v="791" actId="26606"/>
          <ac:spMkLst>
            <pc:docMk/>
            <pc:sldMk cId="3705711618" sldId="2085"/>
            <ac:spMk id="19" creationId="{19C9EAEA-39D0-4B0E-A0EB-51E7B26740B1}"/>
          </ac:spMkLst>
        </pc:spChg>
        <pc:grpChg chg="add">
          <ac:chgData name="Emil Solvind" userId="e90a48f4-1cf5-48a2-a964-a4aae31414c1" providerId="ADAL" clId="{7454997D-57F0-4C20-89BD-319398EA6426}" dt="2024-09-24T11:48:33.713" v="791" actId="26606"/>
          <ac:grpSpMkLst>
            <pc:docMk/>
            <pc:sldMk cId="3705711618" sldId="2085"/>
            <ac:grpSpMk id="12" creationId="{032D8612-31EB-44CF-A1D0-14FD4C705424}"/>
          </ac:grpSpMkLst>
        </pc:grpChg>
        <pc:picChg chg="add mod">
          <ac:chgData name="Emil Solvind" userId="e90a48f4-1cf5-48a2-a964-a4aae31414c1" providerId="ADAL" clId="{7454997D-57F0-4C20-89BD-319398EA6426}" dt="2024-09-24T11:48:33.713" v="791" actId="26606"/>
          <ac:picMkLst>
            <pc:docMk/>
            <pc:sldMk cId="3705711618" sldId="2085"/>
            <ac:picMk id="5" creationId="{A17FA83C-A837-0BD9-5B4E-A717D977908B}"/>
          </ac:picMkLst>
        </pc:picChg>
      </pc:sldChg>
      <pc:sldChg chg="addSp delSp modSp new mod ord setBg">
        <pc:chgData name="Emil Solvind" userId="e90a48f4-1cf5-48a2-a964-a4aae31414c1" providerId="ADAL" clId="{7454997D-57F0-4C20-89BD-319398EA6426}" dt="2024-09-24T12:10:22.826" v="848"/>
        <pc:sldMkLst>
          <pc:docMk/>
          <pc:sldMk cId="1861113018" sldId="2086"/>
        </pc:sldMkLst>
        <pc:spChg chg="mod">
          <ac:chgData name="Emil Solvind" userId="e90a48f4-1cf5-48a2-a964-a4aae31414c1" providerId="ADAL" clId="{7454997D-57F0-4C20-89BD-319398EA6426}" dt="2024-09-24T12:10:18.765" v="846" actId="26606"/>
          <ac:spMkLst>
            <pc:docMk/>
            <pc:sldMk cId="1861113018" sldId="2086"/>
            <ac:spMk id="2" creationId="{2643CEB8-12A4-43A7-7B53-D23A2A88A4E4}"/>
          </ac:spMkLst>
        </pc:spChg>
        <pc:spChg chg="del mod">
          <ac:chgData name="Emil Solvind" userId="e90a48f4-1cf5-48a2-a964-a4aae31414c1" providerId="ADAL" clId="{7454997D-57F0-4C20-89BD-319398EA6426}" dt="2024-09-24T12:10:01.791" v="844" actId="931"/>
          <ac:spMkLst>
            <pc:docMk/>
            <pc:sldMk cId="1861113018" sldId="2086"/>
            <ac:spMk id="3" creationId="{0B4AF54B-DF4E-5F53-2C44-B7B0BA2757AF}"/>
          </ac:spMkLst>
        </pc:spChg>
        <pc:spChg chg="add">
          <ac:chgData name="Emil Solvind" userId="e90a48f4-1cf5-48a2-a964-a4aae31414c1" providerId="ADAL" clId="{7454997D-57F0-4C20-89BD-319398EA6426}" dt="2024-09-24T12:10:18.765" v="846" actId="26606"/>
          <ac:spMkLst>
            <pc:docMk/>
            <pc:sldMk cId="1861113018" sldId="2086"/>
            <ac:spMk id="16" creationId="{3C54F4CE-85F0-46ED-80DA-9518C9251AD1}"/>
          </ac:spMkLst>
        </pc:spChg>
        <pc:spChg chg="add">
          <ac:chgData name="Emil Solvind" userId="e90a48f4-1cf5-48a2-a964-a4aae31414c1" providerId="ADAL" clId="{7454997D-57F0-4C20-89BD-319398EA6426}" dt="2024-09-24T12:10:18.765" v="846" actId="26606"/>
          <ac:spMkLst>
            <pc:docMk/>
            <pc:sldMk cId="1861113018" sldId="2086"/>
            <ac:spMk id="18" creationId="{DADD1FCA-8ACB-4958-81DD-4CDD6D3E1921}"/>
          </ac:spMkLst>
        </pc:spChg>
        <pc:graphicFrameChg chg="add del mod">
          <ac:chgData name="Emil Solvind" userId="e90a48f4-1cf5-48a2-a964-a4aae31414c1" providerId="ADAL" clId="{7454997D-57F0-4C20-89BD-319398EA6426}" dt="2024-09-24T12:07:08.427" v="834" actId="21"/>
          <ac:graphicFrameMkLst>
            <pc:docMk/>
            <pc:sldMk cId="1861113018" sldId="2086"/>
            <ac:graphicFrameMk id="4" creationId="{843BD5BB-8BEB-8931-10F3-C370F6E136CB}"/>
          </ac:graphicFrameMkLst>
        </pc:graphicFrameChg>
        <pc:picChg chg="add mod">
          <ac:chgData name="Emil Solvind" userId="e90a48f4-1cf5-48a2-a964-a4aae31414c1" providerId="ADAL" clId="{7454997D-57F0-4C20-89BD-319398EA6426}" dt="2024-09-24T12:10:18.765" v="846" actId="26606"/>
          <ac:picMkLst>
            <pc:docMk/>
            <pc:sldMk cId="1861113018" sldId="2086"/>
            <ac:picMk id="11" creationId="{9A4EA1C2-75FC-6AC1-7D2C-51C8BB4EE280}"/>
          </ac:picMkLst>
        </pc:picChg>
      </pc:sldChg>
      <pc:sldChg chg="addSp delSp modSp new mod setBg">
        <pc:chgData name="Emil Solvind" userId="e90a48f4-1cf5-48a2-a964-a4aae31414c1" providerId="ADAL" clId="{7454997D-57F0-4C20-89BD-319398EA6426}" dt="2024-09-26T08:11:31.821" v="1075" actId="26606"/>
        <pc:sldMkLst>
          <pc:docMk/>
          <pc:sldMk cId="1852221234" sldId="2088"/>
        </pc:sldMkLst>
        <pc:spChg chg="mod">
          <ac:chgData name="Emil Solvind" userId="e90a48f4-1cf5-48a2-a964-a4aae31414c1" providerId="ADAL" clId="{7454997D-57F0-4C20-89BD-319398EA6426}" dt="2024-09-26T08:11:31.821" v="1075" actId="26606"/>
          <ac:spMkLst>
            <pc:docMk/>
            <pc:sldMk cId="1852221234" sldId="2088"/>
            <ac:spMk id="2" creationId="{9C1F10E8-593A-6870-7840-DF2F701853E6}"/>
          </ac:spMkLst>
        </pc:spChg>
        <pc:spChg chg="del">
          <ac:chgData name="Emil Solvind" userId="e90a48f4-1cf5-48a2-a964-a4aae31414c1" providerId="ADAL" clId="{7454997D-57F0-4C20-89BD-319398EA6426}" dt="2024-09-26T08:09:01.221" v="885" actId="931"/>
          <ac:spMkLst>
            <pc:docMk/>
            <pc:sldMk cId="1852221234" sldId="2088"/>
            <ac:spMk id="3" creationId="{E8C145F0-5439-DFFC-0E3B-D4B993EBC82B}"/>
          </ac:spMkLst>
        </pc:spChg>
        <pc:spChg chg="del mod">
          <ac:chgData name="Emil Solvind" userId="e90a48f4-1cf5-48a2-a964-a4aae31414c1" providerId="ADAL" clId="{7454997D-57F0-4C20-89BD-319398EA6426}" dt="2024-09-26T08:09:09.300" v="888" actId="931"/>
          <ac:spMkLst>
            <pc:docMk/>
            <pc:sldMk cId="1852221234" sldId="2088"/>
            <ac:spMk id="4" creationId="{4BDB5176-22A5-FE53-ED17-DA260C6DB878}"/>
          </ac:spMkLst>
        </pc:spChg>
        <pc:spChg chg="add mod ord">
          <ac:chgData name="Emil Solvind" userId="e90a48f4-1cf5-48a2-a964-a4aae31414c1" providerId="ADAL" clId="{7454997D-57F0-4C20-89BD-319398EA6426}" dt="2024-09-26T08:11:31.821" v="1075" actId="26606"/>
          <ac:spMkLst>
            <pc:docMk/>
            <pc:sldMk cId="1852221234" sldId="2088"/>
            <ac:spMk id="12" creationId="{E4B9BD06-4E0D-FB78-CEDE-027303FAA6AC}"/>
          </ac:spMkLst>
        </pc:spChg>
        <pc:spChg chg="add del">
          <ac:chgData name="Emil Solvind" userId="e90a48f4-1cf5-48a2-a964-a4aae31414c1" providerId="ADAL" clId="{7454997D-57F0-4C20-89BD-319398EA6426}" dt="2024-09-26T08:11:31.821" v="1075" actId="26606"/>
          <ac:spMkLst>
            <pc:docMk/>
            <pc:sldMk cId="1852221234" sldId="2088"/>
            <ac:spMk id="15" creationId="{B95B9BA8-1D69-4796-85F5-B6D0BD52354B}"/>
          </ac:spMkLst>
        </pc:spChg>
        <pc:spChg chg="add">
          <ac:chgData name="Emil Solvind" userId="e90a48f4-1cf5-48a2-a964-a4aae31414c1" providerId="ADAL" clId="{7454997D-57F0-4C20-89BD-319398EA6426}" dt="2024-09-26T08:11:31.821" v="1075" actId="26606"/>
          <ac:spMkLst>
            <pc:docMk/>
            <pc:sldMk cId="1852221234" sldId="2088"/>
            <ac:spMk id="24" creationId="{2DAA6C16-BF9B-4A3E-BC70-EE6015D4F967}"/>
          </ac:spMkLst>
        </pc:spChg>
        <pc:grpChg chg="add del">
          <ac:chgData name="Emil Solvind" userId="e90a48f4-1cf5-48a2-a964-a4aae31414c1" providerId="ADAL" clId="{7454997D-57F0-4C20-89BD-319398EA6426}" dt="2024-09-26T08:11:31.821" v="1075" actId="26606"/>
          <ac:grpSpMkLst>
            <pc:docMk/>
            <pc:sldMk cId="1852221234" sldId="2088"/>
            <ac:grpSpMk id="17" creationId="{364A290D-B7BC-40B4-AB97-0C801BCCE267}"/>
          </ac:grpSpMkLst>
        </pc:grpChg>
        <pc:grpChg chg="add">
          <ac:chgData name="Emil Solvind" userId="e90a48f4-1cf5-48a2-a964-a4aae31414c1" providerId="ADAL" clId="{7454997D-57F0-4C20-89BD-319398EA6426}" dt="2024-09-26T08:11:31.821" v="1075" actId="26606"/>
          <ac:grpSpMkLst>
            <pc:docMk/>
            <pc:sldMk cId="1852221234" sldId="2088"/>
            <ac:grpSpMk id="26" creationId="{A4AE1828-51FD-4AD7-BCF6-9AF5C696CE5D}"/>
          </ac:grpSpMkLst>
        </pc:grpChg>
        <pc:picChg chg="add mod">
          <ac:chgData name="Emil Solvind" userId="e90a48f4-1cf5-48a2-a964-a4aae31414c1" providerId="ADAL" clId="{7454997D-57F0-4C20-89BD-319398EA6426}" dt="2024-09-26T08:11:31.821" v="1075" actId="26606"/>
          <ac:picMkLst>
            <pc:docMk/>
            <pc:sldMk cId="1852221234" sldId="2088"/>
            <ac:picMk id="6" creationId="{95F8537A-8269-C667-5901-00AEAA06B26A}"/>
          </ac:picMkLst>
        </pc:picChg>
        <pc:picChg chg="add mod">
          <ac:chgData name="Emil Solvind" userId="e90a48f4-1cf5-48a2-a964-a4aae31414c1" providerId="ADAL" clId="{7454997D-57F0-4C20-89BD-319398EA6426}" dt="2024-09-26T08:11:31.821" v="1075" actId="26606"/>
          <ac:picMkLst>
            <pc:docMk/>
            <pc:sldMk cId="1852221234" sldId="2088"/>
            <ac:picMk id="8" creationId="{F01CB422-0380-2AAB-3902-63E04A7144BA}"/>
          </ac:picMkLst>
        </pc:picChg>
      </pc:sldChg>
      <pc:sldChg chg="addSp delSp modSp new mod setBg setClrOvrMap">
        <pc:chgData name="Emil Solvind" userId="e90a48f4-1cf5-48a2-a964-a4aae31414c1" providerId="ADAL" clId="{7454997D-57F0-4C20-89BD-319398EA6426}" dt="2024-09-26T08:18:47.866" v="1654" actId="20577"/>
        <pc:sldMkLst>
          <pc:docMk/>
          <pc:sldMk cId="338817042" sldId="2089"/>
        </pc:sldMkLst>
        <pc:spChg chg="mod">
          <ac:chgData name="Emil Solvind" userId="e90a48f4-1cf5-48a2-a964-a4aae31414c1" providerId="ADAL" clId="{7454997D-57F0-4C20-89BD-319398EA6426}" dt="2024-09-26T08:16:59.488" v="1564" actId="26606"/>
          <ac:spMkLst>
            <pc:docMk/>
            <pc:sldMk cId="338817042" sldId="2089"/>
            <ac:spMk id="2" creationId="{07977AC4-F248-8343-CF33-22E3CA486C1E}"/>
          </ac:spMkLst>
        </pc:spChg>
        <pc:spChg chg="mod">
          <ac:chgData name="Emil Solvind" userId="e90a48f4-1cf5-48a2-a964-a4aae31414c1" providerId="ADAL" clId="{7454997D-57F0-4C20-89BD-319398EA6426}" dt="2024-09-26T08:18:42.998" v="1644" actId="27636"/>
          <ac:spMkLst>
            <pc:docMk/>
            <pc:sldMk cId="338817042" sldId="2089"/>
            <ac:spMk id="3" creationId="{D9E0CEAF-8B6D-AA1F-1517-598C95FE487C}"/>
          </ac:spMkLst>
        </pc:spChg>
        <pc:spChg chg="mod">
          <ac:chgData name="Emil Solvind" userId="e90a48f4-1cf5-48a2-a964-a4aae31414c1" providerId="ADAL" clId="{7454997D-57F0-4C20-89BD-319398EA6426}" dt="2024-09-26T08:18:47.866" v="1654" actId="20577"/>
          <ac:spMkLst>
            <pc:docMk/>
            <pc:sldMk cId="338817042" sldId="2089"/>
            <ac:spMk id="4" creationId="{5C396EE1-68C0-4271-54A0-02DF5DA6292B}"/>
          </ac:spMkLst>
        </pc:spChg>
        <pc:spChg chg="add del">
          <ac:chgData name="Emil Solvind" userId="e90a48f4-1cf5-48a2-a964-a4aae31414c1" providerId="ADAL" clId="{7454997D-57F0-4C20-89BD-319398EA6426}" dt="2024-09-26T08:16:59.475" v="1563" actId="26606"/>
          <ac:spMkLst>
            <pc:docMk/>
            <pc:sldMk cId="338817042" sldId="2089"/>
            <ac:spMk id="9" creationId="{9F7D788E-2C1B-4EF4-8719-12613771FF98}"/>
          </ac:spMkLst>
        </pc:spChg>
        <pc:spChg chg="add del">
          <ac:chgData name="Emil Solvind" userId="e90a48f4-1cf5-48a2-a964-a4aae31414c1" providerId="ADAL" clId="{7454997D-57F0-4C20-89BD-319398EA6426}" dt="2024-09-26T08:16:59.475" v="1563" actId="26606"/>
          <ac:spMkLst>
            <pc:docMk/>
            <pc:sldMk cId="338817042" sldId="2089"/>
            <ac:spMk id="11" creationId="{7C54E824-C0F4-480B-BC88-689F50C45FBD}"/>
          </ac:spMkLst>
        </pc:spChg>
        <pc:spChg chg="add del">
          <ac:chgData name="Emil Solvind" userId="e90a48f4-1cf5-48a2-a964-a4aae31414c1" providerId="ADAL" clId="{7454997D-57F0-4C20-89BD-319398EA6426}" dt="2024-09-26T08:16:59.475" v="1563" actId="26606"/>
          <ac:spMkLst>
            <pc:docMk/>
            <pc:sldMk cId="338817042" sldId="2089"/>
            <ac:spMk id="13" creationId="{58DEA6A1-FC5C-4E6E-BBBF-7E472949B394}"/>
          </ac:spMkLst>
        </pc:spChg>
        <pc:spChg chg="add del">
          <ac:chgData name="Emil Solvind" userId="e90a48f4-1cf5-48a2-a964-a4aae31414c1" providerId="ADAL" clId="{7454997D-57F0-4C20-89BD-319398EA6426}" dt="2024-09-26T08:16:59.475" v="1563" actId="26606"/>
          <ac:spMkLst>
            <pc:docMk/>
            <pc:sldMk cId="338817042" sldId="2089"/>
            <ac:spMk id="15" creationId="{96AAAC3B-1954-46B7-BBAC-27DFF5B5295F}"/>
          </ac:spMkLst>
        </pc:spChg>
        <pc:spChg chg="add del">
          <ac:chgData name="Emil Solvind" userId="e90a48f4-1cf5-48a2-a964-a4aae31414c1" providerId="ADAL" clId="{7454997D-57F0-4C20-89BD-319398EA6426}" dt="2024-09-26T08:16:59.475" v="1563" actId="26606"/>
          <ac:spMkLst>
            <pc:docMk/>
            <pc:sldMk cId="338817042" sldId="2089"/>
            <ac:spMk id="17" creationId="{A5AD6500-BB62-4AAC-9D2F-C10DDC90CBB1}"/>
          </ac:spMkLst>
        </pc:spChg>
        <pc:spChg chg="add">
          <ac:chgData name="Emil Solvind" userId="e90a48f4-1cf5-48a2-a964-a4aae31414c1" providerId="ADAL" clId="{7454997D-57F0-4C20-89BD-319398EA6426}" dt="2024-09-26T08:16:59.488" v="1564" actId="26606"/>
          <ac:spMkLst>
            <pc:docMk/>
            <pc:sldMk cId="338817042" sldId="2089"/>
            <ac:spMk id="19" creationId="{1E214AA7-F028-4A0D-8698-61AEC754D1BC}"/>
          </ac:spMkLst>
        </pc:spChg>
        <pc:cxnChg chg="add">
          <ac:chgData name="Emil Solvind" userId="e90a48f4-1cf5-48a2-a964-a4aae31414c1" providerId="ADAL" clId="{7454997D-57F0-4C20-89BD-319398EA6426}" dt="2024-09-26T08:16:59.488" v="1564" actId="26606"/>
          <ac:cxnSpMkLst>
            <pc:docMk/>
            <pc:sldMk cId="338817042" sldId="2089"/>
            <ac:cxnSpMk id="20" creationId="{D6206FDC-2777-4D7F-AF9C-73413DA664C9}"/>
          </ac:cxnSpMkLst>
        </pc:cxnChg>
      </pc:sldChg>
      <pc:sldChg chg="modSp new del mod">
        <pc:chgData name="Emil Solvind" userId="e90a48f4-1cf5-48a2-a964-a4aae31414c1" providerId="ADAL" clId="{7454997D-57F0-4C20-89BD-319398EA6426}" dt="2024-09-26T08:11:59.310" v="1091" actId="47"/>
        <pc:sldMkLst>
          <pc:docMk/>
          <pc:sldMk cId="539189760" sldId="2089"/>
        </pc:sldMkLst>
        <pc:spChg chg="mod">
          <ac:chgData name="Emil Solvind" userId="e90a48f4-1cf5-48a2-a964-a4aae31414c1" providerId="ADAL" clId="{7454997D-57F0-4C20-89BD-319398EA6426}" dt="2024-09-26T08:11:52.531" v="1090" actId="20577"/>
          <ac:spMkLst>
            <pc:docMk/>
            <pc:sldMk cId="539189760" sldId="2089"/>
            <ac:spMk id="2" creationId="{314656CE-00EA-A47F-8177-8A9F10DF2545}"/>
          </ac:spMkLst>
        </pc:spChg>
      </pc:sldChg>
      <pc:sldChg chg="modSp new del mod">
        <pc:chgData name="Emil Solvind" userId="e90a48f4-1cf5-48a2-a964-a4aae31414c1" providerId="ADAL" clId="{7454997D-57F0-4C20-89BD-319398EA6426}" dt="2024-09-26T11:03:33.193" v="1672" actId="47"/>
        <pc:sldMkLst>
          <pc:docMk/>
          <pc:sldMk cId="1011570541" sldId="2090"/>
        </pc:sldMkLst>
        <pc:spChg chg="mod">
          <ac:chgData name="Emil Solvind" userId="e90a48f4-1cf5-48a2-a964-a4aae31414c1" providerId="ADAL" clId="{7454997D-57F0-4C20-89BD-319398EA6426}" dt="2024-09-26T11:02:18.110" v="1658" actId="20577"/>
          <ac:spMkLst>
            <pc:docMk/>
            <pc:sldMk cId="1011570541" sldId="2090"/>
            <ac:spMk id="2" creationId="{ADBE62D6-3A45-99E8-FAB7-5233BEB21D01}"/>
          </ac:spMkLst>
        </pc:spChg>
        <pc:spChg chg="mod">
          <ac:chgData name="Emil Solvind" userId="e90a48f4-1cf5-48a2-a964-a4aae31414c1" providerId="ADAL" clId="{7454997D-57F0-4C20-89BD-319398EA6426}" dt="2024-09-26T11:03:17.825" v="1665" actId="21"/>
          <ac:spMkLst>
            <pc:docMk/>
            <pc:sldMk cId="1011570541" sldId="2090"/>
            <ac:spMk id="3" creationId="{43F59CBF-5A82-2D7C-249A-A2357B76A7CE}"/>
          </ac:spMkLst>
        </pc:spChg>
      </pc:sldChg>
      <pc:sldChg chg="addSp delSp modSp new mod setBg setClrOvrMap">
        <pc:chgData name="Emil Solvind" userId="e90a48f4-1cf5-48a2-a964-a4aae31414c1" providerId="ADAL" clId="{7454997D-57F0-4C20-89BD-319398EA6426}" dt="2024-09-26T11:04:40.503" v="1680" actId="26606"/>
        <pc:sldMkLst>
          <pc:docMk/>
          <pc:sldMk cId="2480719506" sldId="2091"/>
        </pc:sldMkLst>
        <pc:spChg chg="mod">
          <ac:chgData name="Emil Solvind" userId="e90a48f4-1cf5-48a2-a964-a4aae31414c1" providerId="ADAL" clId="{7454997D-57F0-4C20-89BD-319398EA6426}" dt="2024-09-26T11:04:40.503" v="1680" actId="26606"/>
          <ac:spMkLst>
            <pc:docMk/>
            <pc:sldMk cId="2480719506" sldId="2091"/>
            <ac:spMk id="2" creationId="{753587E3-D1DB-1D9A-371E-4DFA417660B6}"/>
          </ac:spMkLst>
        </pc:spChg>
        <pc:spChg chg="mod">
          <ac:chgData name="Emil Solvind" userId="e90a48f4-1cf5-48a2-a964-a4aae31414c1" providerId="ADAL" clId="{7454997D-57F0-4C20-89BD-319398EA6426}" dt="2024-09-26T11:04:40.503" v="1680" actId="26606"/>
          <ac:spMkLst>
            <pc:docMk/>
            <pc:sldMk cId="2480719506" sldId="2091"/>
            <ac:spMk id="3" creationId="{7F42567B-EC7F-52A5-5210-B78DE5BACEC9}"/>
          </ac:spMkLst>
        </pc:spChg>
        <pc:spChg chg="mod">
          <ac:chgData name="Emil Solvind" userId="e90a48f4-1cf5-48a2-a964-a4aae31414c1" providerId="ADAL" clId="{7454997D-57F0-4C20-89BD-319398EA6426}" dt="2024-09-26T11:04:40.503" v="1680" actId="26606"/>
          <ac:spMkLst>
            <pc:docMk/>
            <pc:sldMk cId="2480719506" sldId="2091"/>
            <ac:spMk id="4" creationId="{0E462967-5E05-A153-4E2F-1F5D3BBBCD85}"/>
          </ac:spMkLst>
        </pc:spChg>
        <pc:spChg chg="add del">
          <ac:chgData name="Emil Solvind" userId="e90a48f4-1cf5-48a2-a964-a4aae31414c1" providerId="ADAL" clId="{7454997D-57F0-4C20-89BD-319398EA6426}" dt="2024-09-26T11:04:40.503" v="1680" actId="26606"/>
          <ac:spMkLst>
            <pc:docMk/>
            <pc:sldMk cId="2480719506" sldId="2091"/>
            <ac:spMk id="9" creationId="{2A6B319F-86FE-4754-878E-06F0804D882B}"/>
          </ac:spMkLst>
        </pc:spChg>
        <pc:spChg chg="add del">
          <ac:chgData name="Emil Solvind" userId="e90a48f4-1cf5-48a2-a964-a4aae31414c1" providerId="ADAL" clId="{7454997D-57F0-4C20-89BD-319398EA6426}" dt="2024-09-26T11:04:40.503" v="1680" actId="26606"/>
          <ac:spMkLst>
            <pc:docMk/>
            <pc:sldMk cId="2480719506" sldId="2091"/>
            <ac:spMk id="11" creationId="{DCF7D1B5-3477-499F-ACC5-2C8B07F4EDB3}"/>
          </ac:spMkLst>
        </pc:spChg>
        <pc:spChg chg="add del">
          <ac:chgData name="Emil Solvind" userId="e90a48f4-1cf5-48a2-a964-a4aae31414c1" providerId="ADAL" clId="{7454997D-57F0-4C20-89BD-319398EA6426}" dt="2024-09-26T11:04:35.699" v="1677" actId="26606"/>
          <ac:spMkLst>
            <pc:docMk/>
            <pc:sldMk cId="2480719506" sldId="2091"/>
            <ac:spMk id="16" creationId="{428D436F-9ACD-4C92-AFC8-C934C527A6A4}"/>
          </ac:spMkLst>
        </pc:spChg>
        <pc:spChg chg="add del">
          <ac:chgData name="Emil Solvind" userId="e90a48f4-1cf5-48a2-a964-a4aae31414c1" providerId="ADAL" clId="{7454997D-57F0-4C20-89BD-319398EA6426}" dt="2024-09-26T11:04:35.699" v="1677" actId="26606"/>
          <ac:spMkLst>
            <pc:docMk/>
            <pc:sldMk cId="2480719506" sldId="2091"/>
            <ac:spMk id="18" creationId="{090538E0-A884-4E60-A6AB-77D830E2FCED}"/>
          </ac:spMkLst>
        </pc:spChg>
        <pc:spChg chg="add del">
          <ac:chgData name="Emil Solvind" userId="e90a48f4-1cf5-48a2-a964-a4aae31414c1" providerId="ADAL" clId="{7454997D-57F0-4C20-89BD-319398EA6426}" dt="2024-09-26T11:04:35.699" v="1677" actId="26606"/>
          <ac:spMkLst>
            <pc:docMk/>
            <pc:sldMk cId="2480719506" sldId="2091"/>
            <ac:spMk id="20" creationId="{DB0D7DD0-1C67-4D4C-9E06-678233DB8468}"/>
          </ac:spMkLst>
        </pc:spChg>
        <pc:spChg chg="add del">
          <ac:chgData name="Emil Solvind" userId="e90a48f4-1cf5-48a2-a964-a4aae31414c1" providerId="ADAL" clId="{7454997D-57F0-4C20-89BD-319398EA6426}" dt="2024-09-26T11:04:40.502" v="1679" actId="26606"/>
          <ac:spMkLst>
            <pc:docMk/>
            <pc:sldMk cId="2480719506" sldId="2091"/>
            <ac:spMk id="22" creationId="{10F24D38-B79E-44B4-830E-043F45D96DC2}"/>
          </ac:spMkLst>
        </pc:spChg>
        <pc:spChg chg="add">
          <ac:chgData name="Emil Solvind" userId="e90a48f4-1cf5-48a2-a964-a4aae31414c1" providerId="ADAL" clId="{7454997D-57F0-4C20-89BD-319398EA6426}" dt="2024-09-26T11:04:40.503" v="1680" actId="26606"/>
          <ac:spMkLst>
            <pc:docMk/>
            <pc:sldMk cId="2480719506" sldId="2091"/>
            <ac:spMk id="25" creationId="{428D436F-9ACD-4C92-AFC8-C934C527A6A4}"/>
          </ac:spMkLst>
        </pc:spChg>
        <pc:spChg chg="add">
          <ac:chgData name="Emil Solvind" userId="e90a48f4-1cf5-48a2-a964-a4aae31414c1" providerId="ADAL" clId="{7454997D-57F0-4C20-89BD-319398EA6426}" dt="2024-09-26T11:04:40.503" v="1680" actId="26606"/>
          <ac:spMkLst>
            <pc:docMk/>
            <pc:sldMk cId="2480719506" sldId="2091"/>
            <ac:spMk id="26" creationId="{090538E0-A884-4E60-A6AB-77D830E2FCED}"/>
          </ac:spMkLst>
        </pc:spChg>
        <pc:spChg chg="add">
          <ac:chgData name="Emil Solvind" userId="e90a48f4-1cf5-48a2-a964-a4aae31414c1" providerId="ADAL" clId="{7454997D-57F0-4C20-89BD-319398EA6426}" dt="2024-09-26T11:04:40.503" v="1680" actId="26606"/>
          <ac:spMkLst>
            <pc:docMk/>
            <pc:sldMk cId="2480719506" sldId="2091"/>
            <ac:spMk id="27" creationId="{DB0D7DD0-1C67-4D4C-9E06-678233DB8468}"/>
          </ac:spMkLst>
        </pc:spChg>
        <pc:cxnChg chg="add del">
          <ac:chgData name="Emil Solvind" userId="e90a48f4-1cf5-48a2-a964-a4aae31414c1" providerId="ADAL" clId="{7454997D-57F0-4C20-89BD-319398EA6426}" dt="2024-09-26T11:04:40.502" v="1679" actId="26606"/>
          <ac:cxnSpMkLst>
            <pc:docMk/>
            <pc:sldMk cId="2480719506" sldId="2091"/>
            <ac:cxnSpMk id="23" creationId="{FC469874-256B-45B3-A79C-7591B4BA1ECC}"/>
          </ac:cxnSpMkLst>
        </pc:cxnChg>
      </pc:sldChg>
      <pc:sldChg chg="addSp delSp modSp new mod setBg">
        <pc:chgData name="Emil Solvind" userId="e90a48f4-1cf5-48a2-a964-a4aae31414c1" providerId="ADAL" clId="{7454997D-57F0-4C20-89BD-319398EA6426}" dt="2024-09-26T11:57:16.238" v="2159" actId="26606"/>
        <pc:sldMkLst>
          <pc:docMk/>
          <pc:sldMk cId="595916603" sldId="2092"/>
        </pc:sldMkLst>
        <pc:spChg chg="mod">
          <ac:chgData name="Emil Solvind" userId="e90a48f4-1cf5-48a2-a964-a4aae31414c1" providerId="ADAL" clId="{7454997D-57F0-4C20-89BD-319398EA6426}" dt="2024-09-26T11:57:16.238" v="2159" actId="26606"/>
          <ac:spMkLst>
            <pc:docMk/>
            <pc:sldMk cId="595916603" sldId="2092"/>
            <ac:spMk id="2" creationId="{C0352A2A-4736-3C51-8EFD-0347BC195EE3}"/>
          </ac:spMkLst>
        </pc:spChg>
        <pc:spChg chg="mod">
          <ac:chgData name="Emil Solvind" userId="e90a48f4-1cf5-48a2-a964-a4aae31414c1" providerId="ADAL" clId="{7454997D-57F0-4C20-89BD-319398EA6426}" dt="2024-09-26T11:57:16.238" v="2159" actId="26606"/>
          <ac:spMkLst>
            <pc:docMk/>
            <pc:sldMk cId="595916603" sldId="2092"/>
            <ac:spMk id="3" creationId="{0AEFC89F-F75F-575C-A981-8F25689119BD}"/>
          </ac:spMkLst>
        </pc:spChg>
        <pc:spChg chg="add del">
          <ac:chgData name="Emil Solvind" userId="e90a48f4-1cf5-48a2-a964-a4aae31414c1" providerId="ADAL" clId="{7454997D-57F0-4C20-89BD-319398EA6426}" dt="2024-09-26T11:57:16.238" v="2159" actId="26606"/>
          <ac:spMkLst>
            <pc:docMk/>
            <pc:sldMk cId="595916603" sldId="2092"/>
            <ac:spMk id="8" creationId="{4BC99CB9-DDAD-44A2-8A1C-E3AF4E72DF5C}"/>
          </ac:spMkLst>
        </pc:spChg>
        <pc:spChg chg="add del">
          <ac:chgData name="Emil Solvind" userId="e90a48f4-1cf5-48a2-a964-a4aae31414c1" providerId="ADAL" clId="{7454997D-57F0-4C20-89BD-319398EA6426}" dt="2024-09-26T11:57:16.238" v="2159" actId="26606"/>
          <ac:spMkLst>
            <pc:docMk/>
            <pc:sldMk cId="595916603" sldId="2092"/>
            <ac:spMk id="10" creationId="{64053CBF-3932-45FF-8285-EE5146085F3A}"/>
          </ac:spMkLst>
        </pc:spChg>
        <pc:spChg chg="add">
          <ac:chgData name="Emil Solvind" userId="e90a48f4-1cf5-48a2-a964-a4aae31414c1" providerId="ADAL" clId="{7454997D-57F0-4C20-89BD-319398EA6426}" dt="2024-09-26T11:57:16.238" v="2159" actId="26606"/>
          <ac:spMkLst>
            <pc:docMk/>
            <pc:sldMk cId="595916603" sldId="2092"/>
            <ac:spMk id="27" creationId="{43C823D3-D619-407C-89E0-C6F6B1E7A42A}"/>
          </ac:spMkLst>
        </pc:spChg>
        <pc:spChg chg="add">
          <ac:chgData name="Emil Solvind" userId="e90a48f4-1cf5-48a2-a964-a4aae31414c1" providerId="ADAL" clId="{7454997D-57F0-4C20-89BD-319398EA6426}" dt="2024-09-26T11:57:16.238" v="2159" actId="26606"/>
          <ac:spMkLst>
            <pc:docMk/>
            <pc:sldMk cId="595916603" sldId="2092"/>
            <ac:spMk id="29" creationId="{047F8E3E-2FFA-4A0F-B3C7-E57ADDCFB415}"/>
          </ac:spMkLst>
        </pc:spChg>
        <pc:grpChg chg="add del">
          <ac:chgData name="Emil Solvind" userId="e90a48f4-1cf5-48a2-a964-a4aae31414c1" providerId="ADAL" clId="{7454997D-57F0-4C20-89BD-319398EA6426}" dt="2024-09-26T11:57:16.238" v="2159" actId="26606"/>
          <ac:grpSpMkLst>
            <pc:docMk/>
            <pc:sldMk cId="595916603" sldId="2092"/>
            <ac:grpSpMk id="12" creationId="{2E751C04-BEA6-446B-A678-9C74819EBD4C}"/>
          </ac:grpSpMkLst>
        </pc:grpChg>
        <pc:grpChg chg="add del">
          <ac:chgData name="Emil Solvind" userId="e90a48f4-1cf5-48a2-a964-a4aae31414c1" providerId="ADAL" clId="{7454997D-57F0-4C20-89BD-319398EA6426}" dt="2024-09-26T11:57:16.238" v="2159" actId="26606"/>
          <ac:grpSpMkLst>
            <pc:docMk/>
            <pc:sldMk cId="595916603" sldId="2092"/>
            <ac:grpSpMk id="18" creationId="{B63ACBA3-DEFD-4C6D-BBA0-64468FA99C2D}"/>
          </ac:grpSpMkLst>
        </pc:grpChg>
        <pc:grpChg chg="add">
          <ac:chgData name="Emil Solvind" userId="e90a48f4-1cf5-48a2-a964-a4aae31414c1" providerId="ADAL" clId="{7454997D-57F0-4C20-89BD-319398EA6426}" dt="2024-09-26T11:57:16.238" v="2159" actId="26606"/>
          <ac:grpSpMkLst>
            <pc:docMk/>
            <pc:sldMk cId="595916603" sldId="2092"/>
            <ac:grpSpMk id="31" creationId="{33D939F1-7ABE-4D0E-946A-43F37F556AFD}"/>
          </ac:grpSpMkLst>
        </pc:grpChg>
        <pc:grpChg chg="add">
          <ac:chgData name="Emil Solvind" userId="e90a48f4-1cf5-48a2-a964-a4aae31414c1" providerId="ADAL" clId="{7454997D-57F0-4C20-89BD-319398EA6426}" dt="2024-09-26T11:57:16.238" v="2159" actId="26606"/>
          <ac:grpSpMkLst>
            <pc:docMk/>
            <pc:sldMk cId="595916603" sldId="2092"/>
            <ac:grpSpMk id="37" creationId="{9DB3963A-4187-4A72-9DA4-CA6BADE22931}"/>
          </ac:grpSpMkLst>
        </pc:grpChg>
      </pc:sldChg>
      <pc:sldChg chg="addSp delSp modSp add mod setBg">
        <pc:chgData name="Emil Solvind" userId="e90a48f4-1cf5-48a2-a964-a4aae31414c1" providerId="ADAL" clId="{7454997D-57F0-4C20-89BD-319398EA6426}" dt="2024-09-26T11:57:21.943" v="2160" actId="26606"/>
        <pc:sldMkLst>
          <pc:docMk/>
          <pc:sldMk cId="1825225434" sldId="2093"/>
        </pc:sldMkLst>
        <pc:spChg chg="mod">
          <ac:chgData name="Emil Solvind" userId="e90a48f4-1cf5-48a2-a964-a4aae31414c1" providerId="ADAL" clId="{7454997D-57F0-4C20-89BD-319398EA6426}" dt="2024-09-26T11:57:21.943" v="2160" actId="26606"/>
          <ac:spMkLst>
            <pc:docMk/>
            <pc:sldMk cId="1825225434" sldId="2093"/>
            <ac:spMk id="2" creationId="{C0352A2A-4736-3C51-8EFD-0347BC195EE3}"/>
          </ac:spMkLst>
        </pc:spChg>
        <pc:spChg chg="mod">
          <ac:chgData name="Emil Solvind" userId="e90a48f4-1cf5-48a2-a964-a4aae31414c1" providerId="ADAL" clId="{7454997D-57F0-4C20-89BD-319398EA6426}" dt="2024-09-26T11:57:21.943" v="2160" actId="26606"/>
          <ac:spMkLst>
            <pc:docMk/>
            <pc:sldMk cId="1825225434" sldId="2093"/>
            <ac:spMk id="3" creationId="{0AEFC89F-F75F-575C-A981-8F25689119BD}"/>
          </ac:spMkLst>
        </pc:spChg>
        <pc:spChg chg="add del">
          <ac:chgData name="Emil Solvind" userId="e90a48f4-1cf5-48a2-a964-a4aae31414c1" providerId="ADAL" clId="{7454997D-57F0-4C20-89BD-319398EA6426}" dt="2024-09-26T11:57:21.943" v="2160" actId="26606"/>
          <ac:spMkLst>
            <pc:docMk/>
            <pc:sldMk cId="1825225434" sldId="2093"/>
            <ac:spMk id="8" creationId="{4BC99CB9-DDAD-44A2-8A1C-E3AF4E72DF5C}"/>
          </ac:spMkLst>
        </pc:spChg>
        <pc:spChg chg="add del">
          <ac:chgData name="Emil Solvind" userId="e90a48f4-1cf5-48a2-a964-a4aae31414c1" providerId="ADAL" clId="{7454997D-57F0-4C20-89BD-319398EA6426}" dt="2024-09-26T11:57:21.943" v="2160" actId="26606"/>
          <ac:spMkLst>
            <pc:docMk/>
            <pc:sldMk cId="1825225434" sldId="2093"/>
            <ac:spMk id="10" creationId="{1561AEE4-4E38-4BAC-976D-E0DE523FC5D1}"/>
          </ac:spMkLst>
        </pc:spChg>
        <pc:spChg chg="add">
          <ac:chgData name="Emil Solvind" userId="e90a48f4-1cf5-48a2-a964-a4aae31414c1" providerId="ADAL" clId="{7454997D-57F0-4C20-89BD-319398EA6426}" dt="2024-09-26T11:57:21.943" v="2160" actId="26606"/>
          <ac:spMkLst>
            <pc:docMk/>
            <pc:sldMk cId="1825225434" sldId="2093"/>
            <ac:spMk id="24" creationId="{D038248A-211C-4EEC-8401-C761B929FB52}"/>
          </ac:spMkLst>
        </pc:spChg>
        <pc:spChg chg="add">
          <ac:chgData name="Emil Solvind" userId="e90a48f4-1cf5-48a2-a964-a4aae31414c1" providerId="ADAL" clId="{7454997D-57F0-4C20-89BD-319398EA6426}" dt="2024-09-26T11:57:21.943" v="2160" actId="26606"/>
          <ac:spMkLst>
            <pc:docMk/>
            <pc:sldMk cId="1825225434" sldId="2093"/>
            <ac:spMk id="26" creationId="{C30A849F-66D9-40C8-BEC8-35AFF8F4568F}"/>
          </ac:spMkLst>
        </pc:spChg>
        <pc:grpChg chg="add del">
          <ac:chgData name="Emil Solvind" userId="e90a48f4-1cf5-48a2-a964-a4aae31414c1" providerId="ADAL" clId="{7454997D-57F0-4C20-89BD-319398EA6426}" dt="2024-09-26T11:57:21.943" v="2160" actId="26606"/>
          <ac:grpSpMkLst>
            <pc:docMk/>
            <pc:sldMk cId="1825225434" sldId="2093"/>
            <ac:grpSpMk id="12" creationId="{F0BC676B-D19A-44DB-910A-0C0E6D433979}"/>
          </ac:grpSpMkLst>
        </pc:grpChg>
        <pc:grpChg chg="add">
          <ac:chgData name="Emil Solvind" userId="e90a48f4-1cf5-48a2-a964-a4aae31414c1" providerId="ADAL" clId="{7454997D-57F0-4C20-89BD-319398EA6426}" dt="2024-09-26T11:57:21.943" v="2160" actId="26606"/>
          <ac:grpSpMkLst>
            <pc:docMk/>
            <pc:sldMk cId="1825225434" sldId="2093"/>
            <ac:grpSpMk id="28" creationId="{04542298-A2B1-480F-A11C-A40EDD19B857}"/>
          </ac:grpSpMkLst>
        </pc:grpChg>
        <pc:grpChg chg="add">
          <ac:chgData name="Emil Solvind" userId="e90a48f4-1cf5-48a2-a964-a4aae31414c1" providerId="ADAL" clId="{7454997D-57F0-4C20-89BD-319398EA6426}" dt="2024-09-26T11:57:21.943" v="2160" actId="26606"/>
          <ac:grpSpMkLst>
            <pc:docMk/>
            <pc:sldMk cId="1825225434" sldId="2093"/>
            <ac:grpSpMk id="34" creationId="{2A5C9C35-2375-49EB-B99C-17C87D42FE7C}"/>
          </ac:grpSpMkLst>
        </pc:grpChg>
      </pc:sldChg>
      <pc:sldChg chg="modSp add mod">
        <pc:chgData name="Emil Solvind" userId="e90a48f4-1cf5-48a2-a964-a4aae31414c1" providerId="ADAL" clId="{7454997D-57F0-4C20-89BD-319398EA6426}" dt="2024-09-26T11:15:24.331" v="1840" actId="113"/>
        <pc:sldMkLst>
          <pc:docMk/>
          <pc:sldMk cId="3235303307" sldId="2094"/>
        </pc:sldMkLst>
        <pc:spChg chg="mod">
          <ac:chgData name="Emil Solvind" userId="e90a48f4-1cf5-48a2-a964-a4aae31414c1" providerId="ADAL" clId="{7454997D-57F0-4C20-89BD-319398EA6426}" dt="2024-09-26T11:13:57.503" v="1814" actId="20577"/>
          <ac:spMkLst>
            <pc:docMk/>
            <pc:sldMk cId="3235303307" sldId="2094"/>
            <ac:spMk id="2" creationId="{C0352A2A-4736-3C51-8EFD-0347BC195EE3}"/>
          </ac:spMkLst>
        </pc:spChg>
        <pc:spChg chg="mod">
          <ac:chgData name="Emil Solvind" userId="e90a48f4-1cf5-48a2-a964-a4aae31414c1" providerId="ADAL" clId="{7454997D-57F0-4C20-89BD-319398EA6426}" dt="2024-09-26T11:15:24.331" v="1840" actId="113"/>
          <ac:spMkLst>
            <pc:docMk/>
            <pc:sldMk cId="3235303307" sldId="2094"/>
            <ac:spMk id="3" creationId="{0AEFC89F-F75F-575C-A981-8F25689119BD}"/>
          </ac:spMkLst>
        </pc:spChg>
      </pc:sldChg>
      <pc:sldChg chg="addSp modSp add mod setBg">
        <pc:chgData name="Emil Solvind" userId="e90a48f4-1cf5-48a2-a964-a4aae31414c1" providerId="ADAL" clId="{7454997D-57F0-4C20-89BD-319398EA6426}" dt="2024-09-26T11:57:44.662" v="2161" actId="26606"/>
        <pc:sldMkLst>
          <pc:docMk/>
          <pc:sldMk cId="2308154239" sldId="2095"/>
        </pc:sldMkLst>
        <pc:spChg chg="mod">
          <ac:chgData name="Emil Solvind" userId="e90a48f4-1cf5-48a2-a964-a4aae31414c1" providerId="ADAL" clId="{7454997D-57F0-4C20-89BD-319398EA6426}" dt="2024-09-26T11:57:44.662" v="2161" actId="26606"/>
          <ac:spMkLst>
            <pc:docMk/>
            <pc:sldMk cId="2308154239" sldId="2095"/>
            <ac:spMk id="2" creationId="{C0352A2A-4736-3C51-8EFD-0347BC195EE3}"/>
          </ac:spMkLst>
        </pc:spChg>
        <pc:spChg chg="mod">
          <ac:chgData name="Emil Solvind" userId="e90a48f4-1cf5-48a2-a964-a4aae31414c1" providerId="ADAL" clId="{7454997D-57F0-4C20-89BD-319398EA6426}" dt="2024-09-26T11:57:44.662" v="2161" actId="26606"/>
          <ac:spMkLst>
            <pc:docMk/>
            <pc:sldMk cId="2308154239" sldId="2095"/>
            <ac:spMk id="3" creationId="{0AEFC89F-F75F-575C-A981-8F25689119BD}"/>
          </ac:spMkLst>
        </pc:spChg>
        <pc:spChg chg="add">
          <ac:chgData name="Emil Solvind" userId="e90a48f4-1cf5-48a2-a964-a4aae31414c1" providerId="ADAL" clId="{7454997D-57F0-4C20-89BD-319398EA6426}" dt="2024-09-26T11:57:44.662" v="2161" actId="26606"/>
          <ac:spMkLst>
            <pc:docMk/>
            <pc:sldMk cId="2308154239" sldId="2095"/>
            <ac:spMk id="8" creationId="{D038248A-211C-4EEC-8401-C761B929FB52}"/>
          </ac:spMkLst>
        </pc:spChg>
        <pc:spChg chg="add">
          <ac:chgData name="Emil Solvind" userId="e90a48f4-1cf5-48a2-a964-a4aae31414c1" providerId="ADAL" clId="{7454997D-57F0-4C20-89BD-319398EA6426}" dt="2024-09-26T11:57:44.662" v="2161" actId="26606"/>
          <ac:spMkLst>
            <pc:docMk/>
            <pc:sldMk cId="2308154239" sldId="2095"/>
            <ac:spMk id="10" creationId="{C30A849F-66D9-40C8-BEC8-35AFF8F4568F}"/>
          </ac:spMkLst>
        </pc:spChg>
        <pc:grpChg chg="add">
          <ac:chgData name="Emil Solvind" userId="e90a48f4-1cf5-48a2-a964-a4aae31414c1" providerId="ADAL" clId="{7454997D-57F0-4C20-89BD-319398EA6426}" dt="2024-09-26T11:57:44.662" v="2161" actId="26606"/>
          <ac:grpSpMkLst>
            <pc:docMk/>
            <pc:sldMk cId="2308154239" sldId="2095"/>
            <ac:grpSpMk id="12" creationId="{04542298-A2B1-480F-A11C-A40EDD19B857}"/>
          </ac:grpSpMkLst>
        </pc:grpChg>
        <pc:grpChg chg="add">
          <ac:chgData name="Emil Solvind" userId="e90a48f4-1cf5-48a2-a964-a4aae31414c1" providerId="ADAL" clId="{7454997D-57F0-4C20-89BD-319398EA6426}" dt="2024-09-26T11:57:44.662" v="2161" actId="26606"/>
          <ac:grpSpMkLst>
            <pc:docMk/>
            <pc:sldMk cId="2308154239" sldId="2095"/>
            <ac:grpSpMk id="18" creationId="{2A5C9C35-2375-49EB-B99C-17C87D42FE7C}"/>
          </ac:grpSpMkLst>
        </pc:grpChg>
      </pc:sldChg>
      <pc:sldChg chg="modSp add mod">
        <pc:chgData name="Emil Solvind" userId="e90a48f4-1cf5-48a2-a964-a4aae31414c1" providerId="ADAL" clId="{7454997D-57F0-4C20-89BD-319398EA6426}" dt="2024-09-26T11:56:04.199" v="2155" actId="255"/>
        <pc:sldMkLst>
          <pc:docMk/>
          <pc:sldMk cId="2117085862" sldId="2096"/>
        </pc:sldMkLst>
        <pc:spChg chg="mod">
          <ac:chgData name="Emil Solvind" userId="e90a48f4-1cf5-48a2-a964-a4aae31414c1" providerId="ADAL" clId="{7454997D-57F0-4C20-89BD-319398EA6426}" dt="2024-09-26T11:56:04.199" v="2155" actId="255"/>
          <ac:spMkLst>
            <pc:docMk/>
            <pc:sldMk cId="2117085862" sldId="2096"/>
            <ac:spMk id="2" creationId="{C0352A2A-4736-3C51-8EFD-0347BC195EE3}"/>
          </ac:spMkLst>
        </pc:spChg>
        <pc:spChg chg="mod">
          <ac:chgData name="Emil Solvind" userId="e90a48f4-1cf5-48a2-a964-a4aae31414c1" providerId="ADAL" clId="{7454997D-57F0-4C20-89BD-319398EA6426}" dt="2024-09-26T11:18:27.443" v="1860" actId="5793"/>
          <ac:spMkLst>
            <pc:docMk/>
            <pc:sldMk cId="2117085862" sldId="2096"/>
            <ac:spMk id="3" creationId="{0AEFC89F-F75F-575C-A981-8F25689119BD}"/>
          </ac:spMkLst>
        </pc:spChg>
      </pc:sldChg>
      <pc:sldChg chg="modSp add mod">
        <pc:chgData name="Emil Solvind" userId="e90a48f4-1cf5-48a2-a964-a4aae31414c1" providerId="ADAL" clId="{7454997D-57F0-4C20-89BD-319398EA6426}" dt="2024-09-26T11:56:12.866" v="2156" actId="255"/>
        <pc:sldMkLst>
          <pc:docMk/>
          <pc:sldMk cId="4023916487" sldId="2097"/>
        </pc:sldMkLst>
        <pc:spChg chg="mod">
          <ac:chgData name="Emil Solvind" userId="e90a48f4-1cf5-48a2-a964-a4aae31414c1" providerId="ADAL" clId="{7454997D-57F0-4C20-89BD-319398EA6426}" dt="2024-09-26T11:56:12.866" v="2156" actId="255"/>
          <ac:spMkLst>
            <pc:docMk/>
            <pc:sldMk cId="4023916487" sldId="2097"/>
            <ac:spMk id="2" creationId="{C0352A2A-4736-3C51-8EFD-0347BC195EE3}"/>
          </ac:spMkLst>
        </pc:spChg>
        <pc:spChg chg="mod">
          <ac:chgData name="Emil Solvind" userId="e90a48f4-1cf5-48a2-a964-a4aae31414c1" providerId="ADAL" clId="{7454997D-57F0-4C20-89BD-319398EA6426}" dt="2024-09-26T11:22:05.395" v="1944" actId="20577"/>
          <ac:spMkLst>
            <pc:docMk/>
            <pc:sldMk cId="4023916487" sldId="2097"/>
            <ac:spMk id="3" creationId="{0AEFC89F-F75F-575C-A981-8F25689119BD}"/>
          </ac:spMkLst>
        </pc:spChg>
      </pc:sldChg>
      <pc:sldChg chg="modSp add del mod">
        <pc:chgData name="Emil Solvind" userId="e90a48f4-1cf5-48a2-a964-a4aae31414c1" providerId="ADAL" clId="{7454997D-57F0-4C20-89BD-319398EA6426}" dt="2024-09-26T11:40:39.089" v="2035" actId="47"/>
        <pc:sldMkLst>
          <pc:docMk/>
          <pc:sldMk cId="1954553725" sldId="2098"/>
        </pc:sldMkLst>
        <pc:spChg chg="mod">
          <ac:chgData name="Emil Solvind" userId="e90a48f4-1cf5-48a2-a964-a4aae31414c1" providerId="ADAL" clId="{7454997D-57F0-4C20-89BD-319398EA6426}" dt="2024-09-26T11:30:06.377" v="1946"/>
          <ac:spMkLst>
            <pc:docMk/>
            <pc:sldMk cId="1954553725" sldId="2098"/>
            <ac:spMk id="2" creationId="{C0352A2A-4736-3C51-8EFD-0347BC195EE3}"/>
          </ac:spMkLst>
        </pc:spChg>
        <pc:spChg chg="mod">
          <ac:chgData name="Emil Solvind" userId="e90a48f4-1cf5-48a2-a964-a4aae31414c1" providerId="ADAL" clId="{7454997D-57F0-4C20-89BD-319398EA6426}" dt="2024-09-26T11:30:56.309" v="1958" actId="5793"/>
          <ac:spMkLst>
            <pc:docMk/>
            <pc:sldMk cId="1954553725" sldId="2098"/>
            <ac:spMk id="3" creationId="{0AEFC89F-F75F-575C-A981-8F25689119BD}"/>
          </ac:spMkLst>
        </pc:spChg>
      </pc:sldChg>
      <pc:sldChg chg="modSp add mod">
        <pc:chgData name="Emil Solvind" userId="e90a48f4-1cf5-48a2-a964-a4aae31414c1" providerId="ADAL" clId="{7454997D-57F0-4C20-89BD-319398EA6426}" dt="2024-09-26T11:31:39.828" v="1963" actId="255"/>
        <pc:sldMkLst>
          <pc:docMk/>
          <pc:sldMk cId="3504154174" sldId="2099"/>
        </pc:sldMkLst>
        <pc:spChg chg="mod">
          <ac:chgData name="Emil Solvind" userId="e90a48f4-1cf5-48a2-a964-a4aae31414c1" providerId="ADAL" clId="{7454997D-57F0-4C20-89BD-319398EA6426}" dt="2024-09-26T11:31:39.828" v="1963" actId="255"/>
          <ac:spMkLst>
            <pc:docMk/>
            <pc:sldMk cId="3504154174" sldId="2099"/>
            <ac:spMk id="3" creationId="{0AEFC89F-F75F-575C-A981-8F25689119BD}"/>
          </ac:spMkLst>
        </pc:spChg>
      </pc:sldChg>
      <pc:sldChg chg="modSp add mod">
        <pc:chgData name="Emil Solvind" userId="e90a48f4-1cf5-48a2-a964-a4aae31414c1" providerId="ADAL" clId="{7454997D-57F0-4C20-89BD-319398EA6426}" dt="2024-09-26T11:36:23.608" v="2010" actId="27636"/>
        <pc:sldMkLst>
          <pc:docMk/>
          <pc:sldMk cId="3972794766" sldId="2100"/>
        </pc:sldMkLst>
        <pc:spChg chg="mod">
          <ac:chgData name="Emil Solvind" userId="e90a48f4-1cf5-48a2-a964-a4aae31414c1" providerId="ADAL" clId="{7454997D-57F0-4C20-89BD-319398EA6426}" dt="2024-09-26T11:35:38.174" v="1992"/>
          <ac:spMkLst>
            <pc:docMk/>
            <pc:sldMk cId="3972794766" sldId="2100"/>
            <ac:spMk id="2" creationId="{C0352A2A-4736-3C51-8EFD-0347BC195EE3}"/>
          </ac:spMkLst>
        </pc:spChg>
        <pc:spChg chg="mod">
          <ac:chgData name="Emil Solvind" userId="e90a48f4-1cf5-48a2-a964-a4aae31414c1" providerId="ADAL" clId="{7454997D-57F0-4C20-89BD-319398EA6426}" dt="2024-09-26T11:36:23.608" v="2010" actId="27636"/>
          <ac:spMkLst>
            <pc:docMk/>
            <pc:sldMk cId="3972794766" sldId="2100"/>
            <ac:spMk id="3" creationId="{0AEFC89F-F75F-575C-A981-8F25689119BD}"/>
          </ac:spMkLst>
        </pc:spChg>
      </pc:sldChg>
      <pc:sldChg chg="addSp delSp modSp add mod setBg">
        <pc:chgData name="Emil Solvind" userId="e90a48f4-1cf5-48a2-a964-a4aae31414c1" providerId="ADAL" clId="{7454997D-57F0-4C20-89BD-319398EA6426}" dt="2024-09-26T11:58:38.466" v="2164" actId="26606"/>
        <pc:sldMkLst>
          <pc:docMk/>
          <pc:sldMk cId="1287251377" sldId="2101"/>
        </pc:sldMkLst>
        <pc:spChg chg="mod">
          <ac:chgData name="Emil Solvind" userId="e90a48f4-1cf5-48a2-a964-a4aae31414c1" providerId="ADAL" clId="{7454997D-57F0-4C20-89BD-319398EA6426}" dt="2024-09-26T11:58:38.466" v="2164" actId="26606"/>
          <ac:spMkLst>
            <pc:docMk/>
            <pc:sldMk cId="1287251377" sldId="2101"/>
            <ac:spMk id="2" creationId="{C0352A2A-4736-3C51-8EFD-0347BC195EE3}"/>
          </ac:spMkLst>
        </pc:spChg>
        <pc:spChg chg="add del mod">
          <ac:chgData name="Emil Solvind" userId="e90a48f4-1cf5-48a2-a964-a4aae31414c1" providerId="ADAL" clId="{7454997D-57F0-4C20-89BD-319398EA6426}" dt="2024-09-26T11:58:38.466" v="2164" actId="26606"/>
          <ac:spMkLst>
            <pc:docMk/>
            <pc:sldMk cId="1287251377" sldId="2101"/>
            <ac:spMk id="3" creationId="{0AEFC89F-F75F-575C-A981-8F25689119BD}"/>
          </ac:spMkLst>
        </pc:spChg>
        <pc:spChg chg="add">
          <ac:chgData name="Emil Solvind" userId="e90a48f4-1cf5-48a2-a964-a4aae31414c1" providerId="ADAL" clId="{7454997D-57F0-4C20-89BD-319398EA6426}" dt="2024-09-26T11:58:38.466" v="2164" actId="26606"/>
          <ac:spMkLst>
            <pc:docMk/>
            <pc:sldMk cId="1287251377" sldId="2101"/>
            <ac:spMk id="7" creationId="{047F8E3E-2FFA-4A0F-B3C7-E57ADDCFB415}"/>
          </ac:spMkLst>
        </pc:spChg>
        <pc:spChg chg="add">
          <ac:chgData name="Emil Solvind" userId="e90a48f4-1cf5-48a2-a964-a4aae31414c1" providerId="ADAL" clId="{7454997D-57F0-4C20-89BD-319398EA6426}" dt="2024-09-26T11:58:38.466" v="2164" actId="26606"/>
          <ac:spMkLst>
            <pc:docMk/>
            <pc:sldMk cId="1287251377" sldId="2101"/>
            <ac:spMk id="8" creationId="{43C823D3-D619-407C-89E0-C6F6B1E7A42A}"/>
          </ac:spMkLst>
        </pc:spChg>
        <pc:spChg chg="add del">
          <ac:chgData name="Emil Solvind" userId="e90a48f4-1cf5-48a2-a964-a4aae31414c1" providerId="ADAL" clId="{7454997D-57F0-4C20-89BD-319398EA6426}" dt="2024-09-26T11:58:31.069" v="2163" actId="26606"/>
          <ac:spMkLst>
            <pc:docMk/>
            <pc:sldMk cId="1287251377" sldId="2101"/>
            <ac:spMk id="10" creationId="{B50AB553-2A96-4A92-96F2-93548E096954}"/>
          </ac:spMkLst>
        </pc:spChg>
        <pc:grpChg chg="add">
          <ac:chgData name="Emil Solvind" userId="e90a48f4-1cf5-48a2-a964-a4aae31414c1" providerId="ADAL" clId="{7454997D-57F0-4C20-89BD-319398EA6426}" dt="2024-09-26T11:58:38.466" v="2164" actId="26606"/>
          <ac:grpSpMkLst>
            <pc:docMk/>
            <pc:sldMk cId="1287251377" sldId="2101"/>
            <ac:grpSpMk id="12" creationId="{33D939F1-7ABE-4D0E-946A-43F37F556AFD}"/>
          </ac:grpSpMkLst>
        </pc:grpChg>
        <pc:grpChg chg="add">
          <ac:chgData name="Emil Solvind" userId="e90a48f4-1cf5-48a2-a964-a4aae31414c1" providerId="ADAL" clId="{7454997D-57F0-4C20-89BD-319398EA6426}" dt="2024-09-26T11:58:38.466" v="2164" actId="26606"/>
          <ac:grpSpMkLst>
            <pc:docMk/>
            <pc:sldMk cId="1287251377" sldId="2101"/>
            <ac:grpSpMk id="18" creationId="{9DB3963A-4187-4A72-9DA4-CA6BADE22931}"/>
          </ac:grpSpMkLst>
        </pc:grpChg>
        <pc:graphicFrameChg chg="add del">
          <ac:chgData name="Emil Solvind" userId="e90a48f4-1cf5-48a2-a964-a4aae31414c1" providerId="ADAL" clId="{7454997D-57F0-4C20-89BD-319398EA6426}" dt="2024-09-26T11:58:31.069" v="2163" actId="26606"/>
          <ac:graphicFrameMkLst>
            <pc:docMk/>
            <pc:sldMk cId="1287251377" sldId="2101"/>
            <ac:graphicFrameMk id="5" creationId="{EFAEE13B-4EC6-3665-944E-A27F83E24FB2}"/>
          </ac:graphicFrameMkLst>
        </pc:graphicFrameChg>
        <pc:picChg chg="add del">
          <ac:chgData name="Emil Solvind" userId="e90a48f4-1cf5-48a2-a964-a4aae31414c1" providerId="ADAL" clId="{7454997D-57F0-4C20-89BD-319398EA6426}" dt="2024-09-26T11:58:31.069" v="2163" actId="26606"/>
          <ac:picMkLst>
            <pc:docMk/>
            <pc:sldMk cId="1287251377" sldId="2101"/>
            <ac:picMk id="6" creationId="{4AFF1EBD-B5C5-358F-4360-0527BD892B1D}"/>
          </ac:picMkLst>
        </pc:picChg>
      </pc:sldChg>
      <pc:sldChg chg="modSp add mod">
        <pc:chgData name="Emil Solvind" userId="e90a48f4-1cf5-48a2-a964-a4aae31414c1" providerId="ADAL" clId="{7454997D-57F0-4C20-89BD-319398EA6426}" dt="2024-09-26T11:54:21.300" v="2150" actId="20577"/>
        <pc:sldMkLst>
          <pc:docMk/>
          <pc:sldMk cId="2248375718" sldId="2102"/>
        </pc:sldMkLst>
        <pc:spChg chg="mod">
          <ac:chgData name="Emil Solvind" userId="e90a48f4-1cf5-48a2-a964-a4aae31414c1" providerId="ADAL" clId="{7454997D-57F0-4C20-89BD-319398EA6426}" dt="2024-09-26T11:54:21.300" v="2150" actId="20577"/>
          <ac:spMkLst>
            <pc:docMk/>
            <pc:sldMk cId="2248375718" sldId="2102"/>
            <ac:spMk id="2" creationId="{C0352A2A-4736-3C51-8EFD-0347BC195EE3}"/>
          </ac:spMkLst>
        </pc:spChg>
        <pc:spChg chg="mod">
          <ac:chgData name="Emil Solvind" userId="e90a48f4-1cf5-48a2-a964-a4aae31414c1" providerId="ADAL" clId="{7454997D-57F0-4C20-89BD-319398EA6426}" dt="2024-09-26T11:40:52.799" v="2036" actId="5793"/>
          <ac:spMkLst>
            <pc:docMk/>
            <pc:sldMk cId="2248375718" sldId="2102"/>
            <ac:spMk id="3" creationId="{0AEFC89F-F75F-575C-A981-8F25689119BD}"/>
          </ac:spMkLst>
        </pc:spChg>
      </pc:sldChg>
      <pc:sldChg chg="addSp delSp modSp new mod setBg">
        <pc:chgData name="Emil Solvind" userId="e90a48f4-1cf5-48a2-a964-a4aae31414c1" providerId="ADAL" clId="{7454997D-57F0-4C20-89BD-319398EA6426}" dt="2024-09-26T12:00:26.146" v="2167" actId="26606"/>
        <pc:sldMkLst>
          <pc:docMk/>
          <pc:sldMk cId="3758146129" sldId="2103"/>
        </pc:sldMkLst>
        <pc:spChg chg="mod">
          <ac:chgData name="Emil Solvind" userId="e90a48f4-1cf5-48a2-a964-a4aae31414c1" providerId="ADAL" clId="{7454997D-57F0-4C20-89BD-319398EA6426}" dt="2024-09-26T12:00:26.146" v="2167" actId="26606"/>
          <ac:spMkLst>
            <pc:docMk/>
            <pc:sldMk cId="3758146129" sldId="2103"/>
            <ac:spMk id="2" creationId="{519B871D-6CCA-07A3-1CF9-2DE7EB42B2BF}"/>
          </ac:spMkLst>
        </pc:spChg>
        <pc:spChg chg="del mod">
          <ac:chgData name="Emil Solvind" userId="e90a48f4-1cf5-48a2-a964-a4aae31414c1" providerId="ADAL" clId="{7454997D-57F0-4C20-89BD-319398EA6426}" dt="2024-09-26T12:00:26.146" v="2167" actId="26606"/>
          <ac:spMkLst>
            <pc:docMk/>
            <pc:sldMk cId="3758146129" sldId="2103"/>
            <ac:spMk id="3" creationId="{F5F4623B-30EC-2A48-231B-F5AB5C24C9BE}"/>
          </ac:spMkLst>
        </pc:spChg>
        <pc:spChg chg="add">
          <ac:chgData name="Emil Solvind" userId="e90a48f4-1cf5-48a2-a964-a4aae31414c1" providerId="ADAL" clId="{7454997D-57F0-4C20-89BD-319398EA6426}" dt="2024-09-26T12:00:26.146" v="2167" actId="26606"/>
          <ac:spMkLst>
            <pc:docMk/>
            <pc:sldMk cId="3758146129" sldId="2103"/>
            <ac:spMk id="11" creationId="{F68B3F68-107C-434F-AA38-110D5EA91B85}"/>
          </ac:spMkLst>
        </pc:spChg>
        <pc:spChg chg="add del">
          <ac:chgData name="Emil Solvind" userId="e90a48f4-1cf5-48a2-a964-a4aae31414c1" providerId="ADAL" clId="{7454997D-57F0-4C20-89BD-319398EA6426}" dt="2024-09-26T12:00:26.129" v="2166" actId="26606"/>
          <ac:spMkLst>
            <pc:docMk/>
            <pc:sldMk cId="3758146129" sldId="2103"/>
            <ac:spMk id="12" creationId="{5D7F64A8-D625-4F61-A290-B499BB62ACFF}"/>
          </ac:spMkLst>
        </pc:spChg>
        <pc:spChg chg="add">
          <ac:chgData name="Emil Solvind" userId="e90a48f4-1cf5-48a2-a964-a4aae31414c1" providerId="ADAL" clId="{7454997D-57F0-4C20-89BD-319398EA6426}" dt="2024-09-26T12:00:26.146" v="2167" actId="26606"/>
          <ac:spMkLst>
            <pc:docMk/>
            <pc:sldMk cId="3758146129" sldId="2103"/>
            <ac:spMk id="13" creationId="{AAD0DBB9-1A4B-4391-81D4-CB19F9AB918A}"/>
          </ac:spMkLst>
        </pc:spChg>
        <pc:spChg chg="add">
          <ac:chgData name="Emil Solvind" userId="e90a48f4-1cf5-48a2-a964-a4aae31414c1" providerId="ADAL" clId="{7454997D-57F0-4C20-89BD-319398EA6426}" dt="2024-09-26T12:00:26.146" v="2167" actId="26606"/>
          <ac:spMkLst>
            <pc:docMk/>
            <pc:sldMk cId="3758146129" sldId="2103"/>
            <ac:spMk id="14" creationId="{BACC6370-2D7E-4714-9D71-7542949D7D5D}"/>
          </ac:spMkLst>
        </pc:spChg>
        <pc:spChg chg="add">
          <ac:chgData name="Emil Solvind" userId="e90a48f4-1cf5-48a2-a964-a4aae31414c1" providerId="ADAL" clId="{7454997D-57F0-4C20-89BD-319398EA6426}" dt="2024-09-26T12:00:26.146" v="2167" actId="26606"/>
          <ac:spMkLst>
            <pc:docMk/>
            <pc:sldMk cId="3758146129" sldId="2103"/>
            <ac:spMk id="15" creationId="{063BBA22-50EA-4C4D-BE05-F1CE4E63AA56}"/>
          </ac:spMkLst>
        </pc:spChg>
        <pc:graphicFrameChg chg="add">
          <ac:chgData name="Emil Solvind" userId="e90a48f4-1cf5-48a2-a964-a4aae31414c1" providerId="ADAL" clId="{7454997D-57F0-4C20-89BD-319398EA6426}" dt="2024-09-26T12:00:26.146" v="2167" actId="26606"/>
          <ac:graphicFrameMkLst>
            <pc:docMk/>
            <pc:sldMk cId="3758146129" sldId="2103"/>
            <ac:graphicFrameMk id="5" creationId="{2A6D1E9D-38B3-1090-A27E-AA22E0A31294}"/>
          </ac:graphicFrameMkLst>
        </pc:graphicFrameChg>
        <pc:picChg chg="add del">
          <ac:chgData name="Emil Solvind" userId="e90a48f4-1cf5-48a2-a964-a4aae31414c1" providerId="ADAL" clId="{7454997D-57F0-4C20-89BD-319398EA6426}" dt="2024-09-26T12:00:26.129" v="2166" actId="26606"/>
          <ac:picMkLst>
            <pc:docMk/>
            <pc:sldMk cId="3758146129" sldId="2103"/>
            <ac:picMk id="7" creationId="{2121E599-840E-4931-EAEE-70262B1264B9}"/>
          </ac:picMkLst>
        </pc:picChg>
        <pc:picChg chg="add del">
          <ac:chgData name="Emil Solvind" userId="e90a48f4-1cf5-48a2-a964-a4aae31414c1" providerId="ADAL" clId="{7454997D-57F0-4C20-89BD-319398EA6426}" dt="2024-09-26T12:00:26.129" v="2166" actId="26606"/>
          <ac:picMkLst>
            <pc:docMk/>
            <pc:sldMk cId="3758146129" sldId="2103"/>
            <ac:picMk id="9" creationId="{8A206FE1-DCB2-48DC-86EE-17B239939940}"/>
          </ac:picMkLst>
        </pc:picChg>
      </pc:sldChg>
      <pc:sldChg chg="modSp add mod">
        <pc:chgData name="Emil Solvind" userId="e90a48f4-1cf5-48a2-a964-a4aae31414c1" providerId="ADAL" clId="{7454997D-57F0-4C20-89BD-319398EA6426}" dt="2024-09-26T11:53:31.799" v="2143" actId="20577"/>
        <pc:sldMkLst>
          <pc:docMk/>
          <pc:sldMk cId="3156243449" sldId="2104"/>
        </pc:sldMkLst>
        <pc:spChg chg="mod">
          <ac:chgData name="Emil Solvind" userId="e90a48f4-1cf5-48a2-a964-a4aae31414c1" providerId="ADAL" clId="{7454997D-57F0-4C20-89BD-319398EA6426}" dt="2024-09-26T11:53:31.799" v="2143" actId="20577"/>
          <ac:spMkLst>
            <pc:docMk/>
            <pc:sldMk cId="3156243449" sldId="2104"/>
            <ac:spMk id="2" creationId="{519B871D-6CCA-07A3-1CF9-2DE7EB42B2BF}"/>
          </ac:spMkLst>
        </pc:spChg>
        <pc:spChg chg="mod">
          <ac:chgData name="Emil Solvind" userId="e90a48f4-1cf5-48a2-a964-a4aae31414c1" providerId="ADAL" clId="{7454997D-57F0-4C20-89BD-319398EA6426}" dt="2024-09-26T11:44:25.433" v="2076" actId="5793"/>
          <ac:spMkLst>
            <pc:docMk/>
            <pc:sldMk cId="3156243449" sldId="2104"/>
            <ac:spMk id="3" creationId="{F5F4623B-30EC-2A48-231B-F5AB5C24C9BE}"/>
          </ac:spMkLst>
        </pc:spChg>
      </pc:sldChg>
      <pc:sldChg chg="modSp add del mod">
        <pc:chgData name="Emil Solvind" userId="e90a48f4-1cf5-48a2-a964-a4aae31414c1" providerId="ADAL" clId="{7454997D-57F0-4C20-89BD-319398EA6426}" dt="2024-10-01T07:14:35.947" v="2277" actId="2696"/>
        <pc:sldMkLst>
          <pc:docMk/>
          <pc:sldMk cId="547725235" sldId="2105"/>
        </pc:sldMkLst>
        <pc:spChg chg="mod">
          <ac:chgData name="Emil Solvind" userId="e90a48f4-1cf5-48a2-a964-a4aae31414c1" providerId="ADAL" clId="{7454997D-57F0-4C20-89BD-319398EA6426}" dt="2024-09-26T11:53:59.648" v="2147" actId="20577"/>
          <ac:spMkLst>
            <pc:docMk/>
            <pc:sldMk cId="547725235" sldId="2105"/>
            <ac:spMk id="2" creationId="{519B871D-6CCA-07A3-1CF9-2DE7EB42B2BF}"/>
          </ac:spMkLst>
        </pc:spChg>
      </pc:sldChg>
      <pc:sldChg chg="modSp add mod">
        <pc:chgData name="Emil Solvind" userId="e90a48f4-1cf5-48a2-a964-a4aae31414c1" providerId="ADAL" clId="{7454997D-57F0-4C20-89BD-319398EA6426}" dt="2024-09-26T11:53:51.366" v="2145" actId="255"/>
        <pc:sldMkLst>
          <pc:docMk/>
          <pc:sldMk cId="2722611391" sldId="2106"/>
        </pc:sldMkLst>
        <pc:spChg chg="mod">
          <ac:chgData name="Emil Solvind" userId="e90a48f4-1cf5-48a2-a964-a4aae31414c1" providerId="ADAL" clId="{7454997D-57F0-4C20-89BD-319398EA6426}" dt="2024-09-26T11:53:51.366" v="2145" actId="255"/>
          <ac:spMkLst>
            <pc:docMk/>
            <pc:sldMk cId="2722611391" sldId="2106"/>
            <ac:spMk id="2" creationId="{519B871D-6CCA-07A3-1CF9-2DE7EB42B2BF}"/>
          </ac:spMkLst>
        </pc:spChg>
        <pc:spChg chg="mod">
          <ac:chgData name="Emil Solvind" userId="e90a48f4-1cf5-48a2-a964-a4aae31414c1" providerId="ADAL" clId="{7454997D-57F0-4C20-89BD-319398EA6426}" dt="2024-09-26T11:47:18.483" v="2090" actId="113"/>
          <ac:spMkLst>
            <pc:docMk/>
            <pc:sldMk cId="2722611391" sldId="2106"/>
            <ac:spMk id="3" creationId="{F5F4623B-30EC-2A48-231B-F5AB5C24C9BE}"/>
          </ac:spMkLst>
        </pc:spChg>
      </pc:sldChg>
      <pc:sldChg chg="modSp add mod">
        <pc:chgData name="Emil Solvind" userId="e90a48f4-1cf5-48a2-a964-a4aae31414c1" providerId="ADAL" clId="{7454997D-57F0-4C20-89BD-319398EA6426}" dt="2024-09-26T11:49:53.723" v="2114" actId="113"/>
        <pc:sldMkLst>
          <pc:docMk/>
          <pc:sldMk cId="1681808941" sldId="2107"/>
        </pc:sldMkLst>
        <pc:spChg chg="mod">
          <ac:chgData name="Emil Solvind" userId="e90a48f4-1cf5-48a2-a964-a4aae31414c1" providerId="ADAL" clId="{7454997D-57F0-4C20-89BD-319398EA6426}" dt="2024-09-26T11:47:37.144" v="2093"/>
          <ac:spMkLst>
            <pc:docMk/>
            <pc:sldMk cId="1681808941" sldId="2107"/>
            <ac:spMk id="2" creationId="{519B871D-6CCA-07A3-1CF9-2DE7EB42B2BF}"/>
          </ac:spMkLst>
        </pc:spChg>
        <pc:spChg chg="mod">
          <ac:chgData name="Emil Solvind" userId="e90a48f4-1cf5-48a2-a964-a4aae31414c1" providerId="ADAL" clId="{7454997D-57F0-4C20-89BD-319398EA6426}" dt="2024-09-26T11:49:53.723" v="2114" actId="113"/>
          <ac:spMkLst>
            <pc:docMk/>
            <pc:sldMk cId="1681808941" sldId="2107"/>
            <ac:spMk id="3" creationId="{F5F4623B-30EC-2A48-231B-F5AB5C24C9BE}"/>
          </ac:spMkLst>
        </pc:spChg>
      </pc:sldChg>
      <pc:sldChg chg="modSp add mod">
        <pc:chgData name="Emil Solvind" userId="e90a48f4-1cf5-48a2-a964-a4aae31414c1" providerId="ADAL" clId="{7454997D-57F0-4C20-89BD-319398EA6426}" dt="2024-09-26T11:50:52.301" v="2128" actId="113"/>
        <pc:sldMkLst>
          <pc:docMk/>
          <pc:sldMk cId="4012217409" sldId="2108"/>
        </pc:sldMkLst>
        <pc:spChg chg="mod">
          <ac:chgData name="Emil Solvind" userId="e90a48f4-1cf5-48a2-a964-a4aae31414c1" providerId="ADAL" clId="{7454997D-57F0-4C20-89BD-319398EA6426}" dt="2024-09-26T11:50:15.354" v="2119"/>
          <ac:spMkLst>
            <pc:docMk/>
            <pc:sldMk cId="4012217409" sldId="2108"/>
            <ac:spMk id="2" creationId="{519B871D-6CCA-07A3-1CF9-2DE7EB42B2BF}"/>
          </ac:spMkLst>
        </pc:spChg>
        <pc:spChg chg="mod">
          <ac:chgData name="Emil Solvind" userId="e90a48f4-1cf5-48a2-a964-a4aae31414c1" providerId="ADAL" clId="{7454997D-57F0-4C20-89BD-319398EA6426}" dt="2024-09-26T11:50:52.301" v="2128" actId="113"/>
          <ac:spMkLst>
            <pc:docMk/>
            <pc:sldMk cId="4012217409" sldId="2108"/>
            <ac:spMk id="3" creationId="{F5F4623B-30EC-2A48-231B-F5AB5C24C9BE}"/>
          </ac:spMkLst>
        </pc:spChg>
      </pc:sldChg>
      <pc:sldChg chg="modSp add mod">
        <pc:chgData name="Emil Solvind" userId="e90a48f4-1cf5-48a2-a964-a4aae31414c1" providerId="ADAL" clId="{7454997D-57F0-4C20-89BD-319398EA6426}" dt="2024-09-26T11:52:35.111" v="2141" actId="6549"/>
        <pc:sldMkLst>
          <pc:docMk/>
          <pc:sldMk cId="475469297" sldId="2109"/>
        </pc:sldMkLst>
        <pc:spChg chg="mod">
          <ac:chgData name="Emil Solvind" userId="e90a48f4-1cf5-48a2-a964-a4aae31414c1" providerId="ADAL" clId="{7454997D-57F0-4C20-89BD-319398EA6426}" dt="2024-09-26T11:51:56.285" v="2132"/>
          <ac:spMkLst>
            <pc:docMk/>
            <pc:sldMk cId="475469297" sldId="2109"/>
            <ac:spMk id="2" creationId="{519B871D-6CCA-07A3-1CF9-2DE7EB42B2BF}"/>
          </ac:spMkLst>
        </pc:spChg>
        <pc:spChg chg="mod">
          <ac:chgData name="Emil Solvind" userId="e90a48f4-1cf5-48a2-a964-a4aae31414c1" providerId="ADAL" clId="{7454997D-57F0-4C20-89BD-319398EA6426}" dt="2024-09-26T11:52:35.111" v="2141" actId="6549"/>
          <ac:spMkLst>
            <pc:docMk/>
            <pc:sldMk cId="475469297" sldId="2109"/>
            <ac:spMk id="3" creationId="{F5F4623B-30EC-2A48-231B-F5AB5C24C9BE}"/>
          </ac:spMkLst>
        </pc:spChg>
      </pc:sldChg>
      <pc:sldMasterChg chg="delSldLayout">
        <pc:chgData name="Emil Solvind" userId="e90a48f4-1cf5-48a2-a964-a4aae31414c1" providerId="ADAL" clId="{7454997D-57F0-4C20-89BD-319398EA6426}" dt="2024-09-24T08:29:47.914" v="219" actId="47"/>
        <pc:sldMasterMkLst>
          <pc:docMk/>
          <pc:sldMasterMk cId="1049386518" sldId="2147483648"/>
        </pc:sldMasterMkLst>
        <pc:sldLayoutChg chg="del">
          <pc:chgData name="Emil Solvind" userId="e90a48f4-1cf5-48a2-a964-a4aae31414c1" providerId="ADAL" clId="{7454997D-57F0-4C20-89BD-319398EA6426}" dt="2024-09-24T08:29:45.269" v="215" actId="47"/>
          <pc:sldLayoutMkLst>
            <pc:docMk/>
            <pc:sldMasterMk cId="1049386518" sldId="2147483648"/>
            <pc:sldLayoutMk cId="3262143141" sldId="2147483716"/>
          </pc:sldLayoutMkLst>
        </pc:sldLayoutChg>
        <pc:sldLayoutChg chg="del">
          <pc:chgData name="Emil Solvind" userId="e90a48f4-1cf5-48a2-a964-a4aae31414c1" providerId="ADAL" clId="{7454997D-57F0-4C20-89BD-319398EA6426}" dt="2024-09-24T08:29:46.056" v="216" actId="47"/>
          <pc:sldLayoutMkLst>
            <pc:docMk/>
            <pc:sldMasterMk cId="1049386518" sldId="2147483648"/>
            <pc:sldLayoutMk cId="3036430015" sldId="2147483717"/>
          </pc:sldLayoutMkLst>
        </pc:sldLayoutChg>
        <pc:sldLayoutChg chg="del">
          <pc:chgData name="Emil Solvind" userId="e90a48f4-1cf5-48a2-a964-a4aae31414c1" providerId="ADAL" clId="{7454997D-57F0-4C20-89BD-319398EA6426}" dt="2024-09-24T08:29:47.914" v="219" actId="47"/>
          <pc:sldLayoutMkLst>
            <pc:docMk/>
            <pc:sldMasterMk cId="1049386518" sldId="2147483648"/>
            <pc:sldLayoutMk cId="4199897673" sldId="2147483718"/>
          </pc:sldLayoutMkLst>
        </pc:sldLayoutChg>
      </pc:sldMasterChg>
      <pc:sldMasterChg chg="del delSldLayout">
        <pc:chgData name="Emil Solvind" userId="e90a48f4-1cf5-48a2-a964-a4aae31414c1" providerId="ADAL" clId="{7454997D-57F0-4C20-89BD-319398EA6426}" dt="2024-09-24T08:28:18.613" v="191" actId="47"/>
        <pc:sldMasterMkLst>
          <pc:docMk/>
          <pc:sldMasterMk cId="3676579523" sldId="2147483692"/>
        </pc:sldMasterMkLst>
        <pc:sldLayoutChg chg="del">
          <pc:chgData name="Emil Solvind" userId="e90a48f4-1cf5-48a2-a964-a4aae31414c1" providerId="ADAL" clId="{7454997D-57F0-4C20-89BD-319398EA6426}" dt="2024-09-24T08:28:18.613" v="191" actId="47"/>
          <pc:sldLayoutMkLst>
            <pc:docMk/>
            <pc:sldMasterMk cId="3676579523" sldId="2147483692"/>
            <pc:sldLayoutMk cId="3634544234" sldId="2147483693"/>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663829626" sldId="2147483694"/>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2805866670" sldId="2147483695"/>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2235063145" sldId="2147483696"/>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3229582105" sldId="2147483697"/>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1192603811" sldId="2147483698"/>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3889897262" sldId="2147483699"/>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194792273" sldId="2147483700"/>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3408186287" sldId="2147483701"/>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1706423716" sldId="2147483702"/>
          </pc:sldLayoutMkLst>
        </pc:sldLayoutChg>
        <pc:sldLayoutChg chg="del">
          <pc:chgData name="Emil Solvind" userId="e90a48f4-1cf5-48a2-a964-a4aae31414c1" providerId="ADAL" clId="{7454997D-57F0-4C20-89BD-319398EA6426}" dt="2024-09-24T08:28:18.613" v="191" actId="47"/>
          <pc:sldLayoutMkLst>
            <pc:docMk/>
            <pc:sldMasterMk cId="3676579523" sldId="2147483692"/>
            <pc:sldLayoutMk cId="3888369502" sldId="2147483703"/>
          </pc:sldLayoutMkLst>
        </pc:sldLayoutChg>
      </pc:sldMasterChg>
      <pc:sldMasterChg chg="del delSldLayout">
        <pc:chgData name="Emil Solvind" userId="e90a48f4-1cf5-48a2-a964-a4aae31414c1" providerId="ADAL" clId="{7454997D-57F0-4C20-89BD-319398EA6426}" dt="2024-09-24T08:28:21.736" v="194" actId="47"/>
        <pc:sldMasterMkLst>
          <pc:docMk/>
          <pc:sldMasterMk cId="2363956778" sldId="2147483704"/>
        </pc:sldMasterMkLst>
        <pc:sldLayoutChg chg="del">
          <pc:chgData name="Emil Solvind" userId="e90a48f4-1cf5-48a2-a964-a4aae31414c1" providerId="ADAL" clId="{7454997D-57F0-4C20-89BD-319398EA6426}" dt="2024-09-24T08:28:21.736" v="194" actId="47"/>
          <pc:sldLayoutMkLst>
            <pc:docMk/>
            <pc:sldMasterMk cId="2363956778" sldId="2147483704"/>
            <pc:sldLayoutMk cId="3357176117" sldId="2147483705"/>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2702848230" sldId="2147483706"/>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1823185123" sldId="2147483707"/>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514353370" sldId="2147483708"/>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4242800490" sldId="2147483709"/>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1540014595" sldId="2147483710"/>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1545125477" sldId="2147483711"/>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2388135410" sldId="2147483712"/>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234991057" sldId="2147483713"/>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2707705609" sldId="2147483714"/>
          </pc:sldLayoutMkLst>
        </pc:sldLayoutChg>
        <pc:sldLayoutChg chg="del">
          <pc:chgData name="Emil Solvind" userId="e90a48f4-1cf5-48a2-a964-a4aae31414c1" providerId="ADAL" clId="{7454997D-57F0-4C20-89BD-319398EA6426}" dt="2024-09-24T08:28:21.736" v="194" actId="47"/>
          <pc:sldLayoutMkLst>
            <pc:docMk/>
            <pc:sldMasterMk cId="2363956778" sldId="2147483704"/>
            <pc:sldLayoutMk cId="3508467541" sldId="2147483715"/>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82926829268294E-2"/>
          <c:y val="0.12701030927835052"/>
          <c:w val="0.97463414634146339"/>
          <c:h val="0.78268041237113406"/>
        </c:manualLayout>
      </c:layout>
      <c:barChart>
        <c:barDir val="col"/>
        <c:grouping val="stacked"/>
        <c:varyColors val="0"/>
        <c:ser>
          <c:idx val="0"/>
          <c:order val="0"/>
          <c:spPr>
            <a:solidFill>
              <a:schemeClr val="accent1"/>
            </a:solidFill>
            <a:ln>
              <a:noFill/>
            </a:ln>
          </c:spPr>
          <c:invertIfNegative val="0"/>
          <c:dLbls>
            <c:dLbl>
              <c:idx val="0"/>
              <c:layout>
                <c:manualLayout>
                  <c:x val="0"/>
                  <c:y val="-0.28907216494845361"/>
                </c:manualLayout>
              </c:layout>
              <c:numFmt formatCode="#,##0.0;&quot;-&quot;#,##0.0" sourceLinked="0"/>
              <c:spPr>
                <a:noFill/>
                <a:ln>
                  <a:noFill/>
                </a:ln>
              </c:spPr>
              <c:txPr>
                <a:bodyPr wrap="none"/>
                <a:lstStyle/>
                <a:p>
                  <a:pPr>
                    <a:defRPr sz="16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518-4890-9C9C-2D2F28D6A182}"/>
                </c:ext>
              </c:extLst>
            </c:dLbl>
            <c:dLbl>
              <c:idx val="1"/>
              <c:layout>
                <c:manualLayout>
                  <c:x val="0"/>
                  <c:y val="-0.36742268041237114"/>
                </c:manualLayout>
              </c:layout>
              <c:numFmt formatCode="#,##0.0;&quot;-&quot;#,##0.0" sourceLinked="0"/>
              <c:spPr>
                <a:noFill/>
                <a:ln>
                  <a:noFill/>
                </a:ln>
              </c:spPr>
              <c:txPr>
                <a:bodyPr wrap="none"/>
                <a:lstStyle/>
                <a:p>
                  <a:pPr>
                    <a:defRPr sz="16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518-4890-9C9C-2D2F28D6A182}"/>
                </c:ext>
              </c:extLst>
            </c:dLbl>
            <c:dLbl>
              <c:idx val="2"/>
              <c:layout>
                <c:manualLayout>
                  <c:x val="0"/>
                  <c:y val="-0.38061855670103095"/>
                </c:manualLayout>
              </c:layout>
              <c:numFmt formatCode="#,##0.0;&quot;-&quot;#,##0.0" sourceLinked="0"/>
              <c:spPr>
                <a:noFill/>
                <a:ln>
                  <a:noFill/>
                </a:ln>
              </c:spPr>
              <c:txPr>
                <a:bodyPr wrap="none"/>
                <a:lstStyle/>
                <a:p>
                  <a:pPr>
                    <a:defRPr sz="16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18-4890-9C9C-2D2F28D6A182}"/>
                </c:ext>
              </c:extLst>
            </c:dLbl>
            <c:dLbl>
              <c:idx val="3"/>
              <c:layout>
                <c:manualLayout>
                  <c:x val="0"/>
                  <c:y val="-0.42804123711340208"/>
                </c:manualLayout>
              </c:layout>
              <c:numFmt formatCode="#,##0.0;&quot;-&quot;#,##0.0" sourceLinked="0"/>
              <c:spPr>
                <a:noFill/>
                <a:ln>
                  <a:noFill/>
                </a:ln>
              </c:spPr>
              <c:txPr>
                <a:bodyPr wrap="none"/>
                <a:lstStyle/>
                <a:p>
                  <a:pPr>
                    <a:defRPr sz="16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18-4890-9C9C-2D2F28D6A1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3.7</c:v>
                </c:pt>
                <c:pt idx="1">
                  <c:v>57.2</c:v>
                </c:pt>
                <c:pt idx="2">
                  <c:v>59.5</c:v>
                </c:pt>
                <c:pt idx="3">
                  <c:v>67.7</c:v>
                </c:pt>
              </c:numCache>
            </c:numRef>
          </c:val>
          <c:extLst>
            <c:ext xmlns:c16="http://schemas.microsoft.com/office/drawing/2014/chart" uri="{C3380CC4-5D6E-409C-BE32-E72D297353CC}">
              <c16:uniqueId val="{00000004-9518-4890-9C9C-2D2F28D6A182}"/>
            </c:ext>
          </c:extLst>
        </c:ser>
        <c:dLbls>
          <c:showLegendKey val="0"/>
          <c:showVal val="0"/>
          <c:showCatName val="0"/>
          <c:showSerName val="0"/>
          <c:showPercent val="0"/>
          <c:showBubbleSize val="0"/>
        </c:dLbls>
        <c:gapWidth val="80"/>
        <c:overlap val="100"/>
        <c:axId val="944660288"/>
        <c:axId val="1"/>
      </c:barChart>
      <c:catAx>
        <c:axId val="944660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7.7"/>
          <c:min val="0"/>
        </c:scaling>
        <c:delete val="1"/>
        <c:axPos val="l"/>
        <c:numFmt formatCode="General" sourceLinked="1"/>
        <c:majorTickMark val="out"/>
        <c:minorTickMark val="none"/>
        <c:tickLblPos val="nextTo"/>
        <c:crossAx val="94466028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19111885067479E-2"/>
          <c:y val="6.9750632453921213E-2"/>
          <c:w val="0.97736177622986509"/>
          <c:h val="0.86049873509215757"/>
        </c:manualLayout>
      </c:layout>
      <c:barChart>
        <c:barDir val="bar"/>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BE28-487B-A889-66C65ECBCA8D}"/>
              </c:ext>
            </c:extLst>
          </c:dPt>
          <c:dPt>
            <c:idx val="10"/>
            <c:invertIfNegative val="0"/>
            <c:bubble3D val="0"/>
            <c:spPr>
              <a:solidFill>
                <a:schemeClr val="accent1"/>
              </a:solidFill>
              <a:ln>
                <a:noFill/>
              </a:ln>
            </c:spPr>
            <c:extLst>
              <c:ext xmlns:c16="http://schemas.microsoft.com/office/drawing/2014/chart" uri="{C3380CC4-5D6E-409C-BE32-E72D297353CC}">
                <c16:uniqueId val="{00000001-BE28-487B-A889-66C65ECBCA8D}"/>
              </c:ext>
            </c:extLst>
          </c:dPt>
          <c:dLbls>
            <c:dLbl>
              <c:idx val="0"/>
              <c:layout>
                <c:manualLayout>
                  <c:x val="0"/>
                  <c:y val="1.0842067220816769E-3"/>
                </c:manualLayout>
              </c:layout>
              <c:numFmt formatCode="#,##0.0;#,##0.0" sourceLinked="0"/>
              <c:spPr>
                <a:noFill/>
                <a:ln>
                  <a:noFill/>
                </a:ln>
              </c:spPr>
              <c:txPr>
                <a:bodyPr wrap="none"/>
                <a:lstStyle/>
                <a:p>
                  <a:pPr>
                    <a:defRPr sz="14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28-487B-A889-66C65ECBCA8D}"/>
                </c:ext>
              </c:extLst>
            </c:dLbl>
            <c:dLbl>
              <c:idx val="10"/>
              <c:layout>
                <c:manualLayout>
                  <c:x val="0"/>
                  <c:y val="1.0842067220816769E-3"/>
                </c:manualLayout>
              </c:layout>
              <c:numFmt formatCode="#,##0.0;#,##0.0" sourceLinked="0"/>
              <c:spPr>
                <a:noFill/>
                <a:ln>
                  <a:noFill/>
                </a:ln>
              </c:spPr>
              <c:txPr>
                <a:bodyPr wrap="none"/>
                <a:lstStyle/>
                <a:p>
                  <a:pPr>
                    <a:defRPr sz="14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28-487B-A889-66C65ECBCA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6</c:v>
                </c:pt>
                <c:pt idx="1">
                  <c:v>1.6</c:v>
                </c:pt>
                <c:pt idx="2">
                  <c:v>3.5</c:v>
                </c:pt>
                <c:pt idx="3">
                  <c:v>15.350000000000003</c:v>
                </c:pt>
                <c:pt idx="4">
                  <c:v>15.767999999999999</c:v>
                </c:pt>
                <c:pt idx="5">
                  <c:v>19.867999999999995</c:v>
                </c:pt>
                <c:pt idx="6">
                  <c:v>22.768000000000008</c:v>
                </c:pt>
                <c:pt idx="7">
                  <c:v>23.368000000000002</c:v>
                </c:pt>
                <c:pt idx="8">
                  <c:v>23.868000000000009</c:v>
                </c:pt>
                <c:pt idx="9">
                  <c:v>32.793000000000006</c:v>
                </c:pt>
                <c:pt idx="10">
                  <c:v>43.684000000000005</c:v>
                </c:pt>
              </c:numCache>
            </c:numRef>
          </c:val>
          <c:extLst>
            <c:ext xmlns:c16="http://schemas.microsoft.com/office/drawing/2014/chart" uri="{C3380CC4-5D6E-409C-BE32-E72D297353CC}">
              <c16:uniqueId val="{00000002-BE28-487B-A889-66C65ECBCA8D}"/>
            </c:ext>
          </c:extLst>
        </c:ser>
        <c:ser>
          <c:idx val="1"/>
          <c:order val="1"/>
          <c:spPr>
            <a:solidFill>
              <a:schemeClr val="accent1"/>
            </a:solidFill>
            <a:ln>
              <a:noFill/>
            </a:ln>
          </c:spPr>
          <c:invertIfNegative val="0"/>
          <c:dLbls>
            <c:dLbl>
              <c:idx val="1"/>
              <c:layout>
                <c:manualLayout>
                  <c:x val="0"/>
                  <c:y val="1.0842067220816769E-3"/>
                </c:manualLayout>
              </c:layout>
              <c:numFmt formatCode="#,##0.0;#,##0.0" sourceLinked="0"/>
              <c:spPr>
                <a:noFill/>
                <a:ln>
                  <a:noFill/>
                </a:ln>
              </c:spPr>
              <c:txPr>
                <a:bodyPr wrap="none"/>
                <a:lstStyle/>
                <a:p>
                  <a:pPr>
                    <a:defRPr sz="14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28-487B-A889-66C65ECBCA8D}"/>
                </c:ext>
              </c:extLst>
            </c:dLbl>
            <c:dLbl>
              <c:idx val="2"/>
              <c:layout>
                <c:manualLayout>
                  <c:x val="0"/>
                  <c:y val="1.0842067220816769E-3"/>
                </c:manualLayout>
              </c:layout>
              <c:numFmt formatCode="#,##0.0;#,##0.0" sourceLinked="0"/>
              <c:spPr>
                <a:noFill/>
                <a:ln>
                  <a:noFill/>
                </a:ln>
              </c:spPr>
              <c:txPr>
                <a:bodyPr wrap="none"/>
                <a:lstStyle/>
                <a:p>
                  <a:pPr>
                    <a:defRPr sz="14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28-487B-A889-66C65ECBCA8D}"/>
                </c:ext>
              </c:extLst>
            </c:dLbl>
            <c:dLbl>
              <c:idx val="4"/>
              <c:layout>
                <c:manualLayout>
                  <c:x val="0"/>
                  <c:y val="1.0842067220816769E-3"/>
                </c:manualLayout>
              </c:layout>
              <c:numFmt formatCode="#,##0.0;#,##0.0" sourceLinked="0"/>
              <c:spPr>
                <a:noFill/>
                <a:ln>
                  <a:noFill/>
                </a:ln>
              </c:spPr>
              <c:txPr>
                <a:bodyPr wrap="none"/>
                <a:lstStyle/>
                <a:p>
                  <a:pPr>
                    <a:defRPr sz="14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28-487B-A889-66C65ECBCA8D}"/>
                </c:ext>
              </c:extLst>
            </c:dLbl>
            <c:dLbl>
              <c:idx val="5"/>
              <c:layout>
                <c:manualLayout>
                  <c:x val="0"/>
                  <c:y val="1.0842067220816769E-3"/>
                </c:manualLayout>
              </c:layout>
              <c:numFmt formatCode="#,##0.0;#,##0.0" sourceLinked="0"/>
              <c:spPr>
                <a:noFill/>
                <a:ln>
                  <a:noFill/>
                </a:ln>
              </c:spPr>
              <c:txPr>
                <a:bodyPr wrap="none"/>
                <a:lstStyle/>
                <a:p>
                  <a:pPr>
                    <a:defRPr sz="14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28-487B-A889-66C65ECBCA8D}"/>
                </c:ext>
              </c:extLst>
            </c:dLbl>
            <c:dLbl>
              <c:idx val="6"/>
              <c:layout>
                <c:manualLayout>
                  <c:x val="2.9386155855463648E-2"/>
                  <c:y val="1.0842067220816769E-3"/>
                </c:manualLayout>
              </c:layout>
              <c:numFmt formatCode="#,##0.0;#,##0.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28-487B-A889-66C65ECBCA8D}"/>
                </c:ext>
              </c:extLst>
            </c:dLbl>
            <c:dLbl>
              <c:idx val="8"/>
              <c:layout>
                <c:manualLayout>
                  <c:x val="0"/>
                  <c:y val="1.0842067220816769E-3"/>
                </c:manualLayout>
              </c:layout>
              <c:numFmt formatCode="#,##0.0;#,##0.0" sourceLinked="0"/>
              <c:spPr>
                <a:noFill/>
                <a:ln>
                  <a:noFill/>
                </a:ln>
              </c:spPr>
              <c:txPr>
                <a:bodyPr wrap="none"/>
                <a:lstStyle/>
                <a:p>
                  <a:pPr>
                    <a:defRPr sz="14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28-487B-A889-66C65ECBCA8D}"/>
                </c:ext>
              </c:extLst>
            </c:dLbl>
            <c:dLbl>
              <c:idx val="9"/>
              <c:layout>
                <c:manualLayout>
                  <c:x val="0"/>
                  <c:y val="1.0842067220816769E-3"/>
                </c:manualLayout>
              </c:layout>
              <c:numFmt formatCode="#,##0.0;#,##0.0" sourceLinked="0"/>
              <c:spPr>
                <a:noFill/>
                <a:ln>
                  <a:noFill/>
                </a:ln>
              </c:spPr>
              <c:txPr>
                <a:bodyPr wrap="none"/>
                <a:lstStyle/>
                <a:p>
                  <a:pPr>
                    <a:defRPr sz="14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E28-487B-A889-66C65ECBCA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1">
                  <c:v>1.9</c:v>
                </c:pt>
                <c:pt idx="2">
                  <c:v>11.85</c:v>
                </c:pt>
                <c:pt idx="3">
                  <c:v>0.41799999999999926</c:v>
                </c:pt>
                <c:pt idx="4">
                  <c:v>4.0999999999999996</c:v>
                </c:pt>
                <c:pt idx="5">
                  <c:v>2.8999999999999986</c:v>
                </c:pt>
                <c:pt idx="6">
                  <c:v>0.60000000000000142</c:v>
                </c:pt>
                <c:pt idx="7">
                  <c:v>0.5</c:v>
                </c:pt>
                <c:pt idx="8">
                  <c:v>8.9249999999999972</c:v>
                </c:pt>
                <c:pt idx="9">
                  <c:v>10.890999999999998</c:v>
                </c:pt>
              </c:numCache>
            </c:numRef>
          </c:val>
          <c:extLst>
            <c:ext xmlns:c16="http://schemas.microsoft.com/office/drawing/2014/chart" uri="{C3380CC4-5D6E-409C-BE32-E72D297353CC}">
              <c16:uniqueId val="{0000000A-BE28-487B-A889-66C65ECBCA8D}"/>
            </c:ext>
          </c:extLst>
        </c:ser>
        <c:dLbls>
          <c:showLegendKey val="0"/>
          <c:showVal val="0"/>
          <c:showCatName val="0"/>
          <c:showSerName val="0"/>
          <c:showPercent val="0"/>
          <c:showBubbleSize val="0"/>
        </c:dLbls>
        <c:gapWidth val="80"/>
        <c:overlap val="100"/>
        <c:axId val="610696303"/>
        <c:axId val="1"/>
      </c:barChart>
      <c:catAx>
        <c:axId val="61069630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684000000000005"/>
          <c:min val="0"/>
        </c:scaling>
        <c:delete val="1"/>
        <c:axPos val="t"/>
        <c:numFmt formatCode="General" sourceLinked="1"/>
        <c:majorTickMark val="out"/>
        <c:minorTickMark val="none"/>
        <c:tickLblPos val="nextTo"/>
        <c:crossAx val="610696303"/>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37B036-2732-42CD-A45F-FAE8DB92DBE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100230E5-39D9-499B-9A0C-EAE656A0BFA5}">
      <dgm:prSet/>
      <dgm:spPr/>
      <dgm:t>
        <a:bodyPr/>
        <a:lstStyle/>
        <a:p>
          <a:r>
            <a:rPr lang="da-DK" dirty="0"/>
            <a:t>Diskuter ved bordene:</a:t>
          </a:r>
          <a:endParaRPr lang="en-US" dirty="0"/>
        </a:p>
      </dgm:t>
    </dgm:pt>
    <dgm:pt modelId="{6872720A-E2CB-4A58-B044-E1534E11CC50}" type="parTrans" cxnId="{AFCC1173-35CF-42E2-9E03-5C68E08AD8CF}">
      <dgm:prSet/>
      <dgm:spPr/>
      <dgm:t>
        <a:bodyPr/>
        <a:lstStyle/>
        <a:p>
          <a:endParaRPr lang="en-US"/>
        </a:p>
      </dgm:t>
    </dgm:pt>
    <dgm:pt modelId="{066AD288-169D-4E93-87C2-A30700AA0F9D}" type="sibTrans" cxnId="{AFCC1173-35CF-42E2-9E03-5C68E08AD8CF}">
      <dgm:prSet/>
      <dgm:spPr/>
      <dgm:t>
        <a:bodyPr/>
        <a:lstStyle/>
        <a:p>
          <a:endParaRPr lang="en-US"/>
        </a:p>
      </dgm:t>
    </dgm:pt>
    <dgm:pt modelId="{834008E6-4574-4223-BC6D-9E600964EA78}">
      <dgm:prSet/>
      <dgm:spPr/>
      <dgm:t>
        <a:bodyPr/>
        <a:lstStyle/>
        <a:p>
          <a:r>
            <a:rPr lang="da-DK"/>
            <a:t>Hvordan tolker I dette?</a:t>
          </a:r>
          <a:endParaRPr lang="en-US"/>
        </a:p>
      </dgm:t>
    </dgm:pt>
    <dgm:pt modelId="{D33E0782-A4E1-457B-A8A7-6E4BC20121E5}" type="parTrans" cxnId="{25AF20F2-2B5E-4492-9FC7-59C1C2A5E8FE}">
      <dgm:prSet/>
      <dgm:spPr/>
      <dgm:t>
        <a:bodyPr/>
        <a:lstStyle/>
        <a:p>
          <a:endParaRPr lang="en-US"/>
        </a:p>
      </dgm:t>
    </dgm:pt>
    <dgm:pt modelId="{87CA7FE2-AE35-4075-A724-D64D74639B52}" type="sibTrans" cxnId="{25AF20F2-2B5E-4492-9FC7-59C1C2A5E8FE}">
      <dgm:prSet/>
      <dgm:spPr/>
      <dgm:t>
        <a:bodyPr/>
        <a:lstStyle/>
        <a:p>
          <a:endParaRPr lang="en-US"/>
        </a:p>
      </dgm:t>
    </dgm:pt>
    <dgm:pt modelId="{8F5DAD9B-E0D6-496C-802B-C28691D5E0EF}">
      <dgm:prSet/>
      <dgm:spPr/>
      <dgm:t>
        <a:bodyPr/>
        <a:lstStyle/>
        <a:p>
          <a:r>
            <a:rPr lang="da-DK"/>
            <a:t>Har i haft en dialog omkring det med jeres leder?</a:t>
          </a:r>
          <a:endParaRPr lang="en-US"/>
        </a:p>
      </dgm:t>
    </dgm:pt>
    <dgm:pt modelId="{2F720942-5AD5-4D27-8AC1-9CB1F0FFE017}" type="parTrans" cxnId="{07AEB0B0-AA01-4DD8-834A-75E8C1BAA201}">
      <dgm:prSet/>
      <dgm:spPr/>
      <dgm:t>
        <a:bodyPr/>
        <a:lstStyle/>
        <a:p>
          <a:endParaRPr lang="en-US"/>
        </a:p>
      </dgm:t>
    </dgm:pt>
    <dgm:pt modelId="{633A0EC1-51B9-4ABD-B257-9E1D7E73A7ED}" type="sibTrans" cxnId="{07AEB0B0-AA01-4DD8-834A-75E8C1BAA201}">
      <dgm:prSet/>
      <dgm:spPr/>
      <dgm:t>
        <a:bodyPr/>
        <a:lstStyle/>
        <a:p>
          <a:endParaRPr lang="en-US"/>
        </a:p>
      </dgm:t>
    </dgm:pt>
    <dgm:pt modelId="{6C42FDB3-7C33-42A8-AE59-F6A58316493D}" type="pres">
      <dgm:prSet presAssocID="{2B37B036-2732-42CD-A45F-FAE8DB92DBEE}" presName="Name0" presStyleCnt="0">
        <dgm:presLayoutVars>
          <dgm:dir/>
          <dgm:animLvl val="lvl"/>
          <dgm:resizeHandles val="exact"/>
        </dgm:presLayoutVars>
      </dgm:prSet>
      <dgm:spPr/>
    </dgm:pt>
    <dgm:pt modelId="{E1DE0B5F-43FE-49B5-917C-1BA588EB07DE}" type="pres">
      <dgm:prSet presAssocID="{100230E5-39D9-499B-9A0C-EAE656A0BFA5}" presName="linNode" presStyleCnt="0"/>
      <dgm:spPr/>
    </dgm:pt>
    <dgm:pt modelId="{50C43154-1993-4C17-B9F4-95F5EC905573}" type="pres">
      <dgm:prSet presAssocID="{100230E5-39D9-499B-9A0C-EAE656A0BFA5}" presName="parentText" presStyleLbl="node1" presStyleIdx="0" presStyleCnt="1">
        <dgm:presLayoutVars>
          <dgm:chMax val="1"/>
          <dgm:bulletEnabled val="1"/>
        </dgm:presLayoutVars>
      </dgm:prSet>
      <dgm:spPr/>
    </dgm:pt>
    <dgm:pt modelId="{2231AB7C-706C-4CE9-AA38-DDC8F576809B}" type="pres">
      <dgm:prSet presAssocID="{100230E5-39D9-499B-9A0C-EAE656A0BFA5}" presName="descendantText" presStyleLbl="alignAccFollowNode1" presStyleIdx="0" presStyleCnt="1">
        <dgm:presLayoutVars>
          <dgm:bulletEnabled val="1"/>
        </dgm:presLayoutVars>
      </dgm:prSet>
      <dgm:spPr/>
    </dgm:pt>
  </dgm:ptLst>
  <dgm:cxnLst>
    <dgm:cxn modelId="{ECDB3A02-58BB-4243-AC8F-750E632F9E31}" type="presOf" srcId="{2B37B036-2732-42CD-A45F-FAE8DB92DBEE}" destId="{6C42FDB3-7C33-42A8-AE59-F6A58316493D}" srcOrd="0" destOrd="0" presId="urn:microsoft.com/office/officeart/2005/8/layout/vList5"/>
    <dgm:cxn modelId="{F9FCBE5F-CD7E-430C-8234-79B1BC9B0077}" type="presOf" srcId="{834008E6-4574-4223-BC6D-9E600964EA78}" destId="{2231AB7C-706C-4CE9-AA38-DDC8F576809B}" srcOrd="0" destOrd="0" presId="urn:microsoft.com/office/officeart/2005/8/layout/vList5"/>
    <dgm:cxn modelId="{AFCC1173-35CF-42E2-9E03-5C68E08AD8CF}" srcId="{2B37B036-2732-42CD-A45F-FAE8DB92DBEE}" destId="{100230E5-39D9-499B-9A0C-EAE656A0BFA5}" srcOrd="0" destOrd="0" parTransId="{6872720A-E2CB-4A58-B044-E1534E11CC50}" sibTransId="{066AD288-169D-4E93-87C2-A30700AA0F9D}"/>
    <dgm:cxn modelId="{07AEB0B0-AA01-4DD8-834A-75E8C1BAA201}" srcId="{100230E5-39D9-499B-9A0C-EAE656A0BFA5}" destId="{8F5DAD9B-E0D6-496C-802B-C28691D5E0EF}" srcOrd="1" destOrd="0" parTransId="{2F720942-5AD5-4D27-8AC1-9CB1F0FFE017}" sibTransId="{633A0EC1-51B9-4ABD-B257-9E1D7E73A7ED}"/>
    <dgm:cxn modelId="{4EF723D6-D43F-4A1A-B12B-FCE85830BB0C}" type="presOf" srcId="{8F5DAD9B-E0D6-496C-802B-C28691D5E0EF}" destId="{2231AB7C-706C-4CE9-AA38-DDC8F576809B}" srcOrd="0" destOrd="1" presId="urn:microsoft.com/office/officeart/2005/8/layout/vList5"/>
    <dgm:cxn modelId="{25AF20F2-2B5E-4492-9FC7-59C1C2A5E8FE}" srcId="{100230E5-39D9-499B-9A0C-EAE656A0BFA5}" destId="{834008E6-4574-4223-BC6D-9E600964EA78}" srcOrd="0" destOrd="0" parTransId="{D33E0782-A4E1-457B-A8A7-6E4BC20121E5}" sibTransId="{87CA7FE2-AE35-4075-A724-D64D74639B52}"/>
    <dgm:cxn modelId="{FDD23CFF-024F-44A9-A93E-5373238B98BE}" type="presOf" srcId="{100230E5-39D9-499B-9A0C-EAE656A0BFA5}" destId="{50C43154-1993-4C17-B9F4-95F5EC905573}" srcOrd="0" destOrd="0" presId="urn:microsoft.com/office/officeart/2005/8/layout/vList5"/>
    <dgm:cxn modelId="{5BFE01E5-B340-4C21-9433-B2998AEFBE19}" type="presParOf" srcId="{6C42FDB3-7C33-42A8-AE59-F6A58316493D}" destId="{E1DE0B5F-43FE-49B5-917C-1BA588EB07DE}" srcOrd="0" destOrd="0" presId="urn:microsoft.com/office/officeart/2005/8/layout/vList5"/>
    <dgm:cxn modelId="{7213BCD3-2051-49E6-95BA-705062230061}" type="presParOf" srcId="{E1DE0B5F-43FE-49B5-917C-1BA588EB07DE}" destId="{50C43154-1993-4C17-B9F4-95F5EC905573}" srcOrd="0" destOrd="0" presId="urn:microsoft.com/office/officeart/2005/8/layout/vList5"/>
    <dgm:cxn modelId="{5926311F-5D92-42FE-A237-EC2192CC2C15}" type="presParOf" srcId="{E1DE0B5F-43FE-49B5-917C-1BA588EB07DE}" destId="{2231AB7C-706C-4CE9-AA38-DDC8F576809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5B1FC51-5D0C-4205-8362-95D4E6452221}"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436B4FBE-D7C1-4755-A8B2-B7F3CC4D5F1C}">
      <dgm:prSet/>
      <dgm:spPr/>
      <dgm:t>
        <a:bodyPr/>
        <a:lstStyle/>
        <a:p>
          <a:r>
            <a:rPr lang="da-DK" b="0" i="0" baseline="0"/>
            <a:t>Alle ansatte skal behandles med respekt og værdighed, og det skal være trygt og sikkert at gå på arbejde i Frederiksberg Kommune. </a:t>
          </a:r>
          <a:endParaRPr lang="en-US"/>
        </a:p>
      </dgm:t>
    </dgm:pt>
    <dgm:pt modelId="{A5578DAB-93E8-41BA-8787-3D3B4F431693}" type="parTrans" cxnId="{BA7D9760-36E5-4315-99F1-C23359A099C1}">
      <dgm:prSet/>
      <dgm:spPr/>
      <dgm:t>
        <a:bodyPr/>
        <a:lstStyle/>
        <a:p>
          <a:endParaRPr lang="en-US"/>
        </a:p>
      </dgm:t>
    </dgm:pt>
    <dgm:pt modelId="{8C3E7B41-1F42-44F4-86BE-F8B5DA65B23B}" type="sibTrans" cxnId="{BA7D9760-36E5-4315-99F1-C23359A099C1}">
      <dgm:prSet/>
      <dgm:spPr/>
      <dgm:t>
        <a:bodyPr/>
        <a:lstStyle/>
        <a:p>
          <a:endParaRPr lang="en-US"/>
        </a:p>
      </dgm:t>
    </dgm:pt>
    <dgm:pt modelId="{D4CFDE97-35B9-43A8-8088-5CE131E83EBF}">
      <dgm:prSet/>
      <dgm:spPr/>
      <dgm:t>
        <a:bodyPr/>
        <a:lstStyle/>
        <a:p>
          <a:r>
            <a:rPr lang="da-DK" b="0" i="0" baseline="0"/>
            <a:t>Frederiksberg kommune accepterer derfor ikke nogen form for krænkende handlinger mod kommunens ansatte, uanset det drejer sig om krænkende handlinger internt i organisationen eller om krænkende handlinger fra borgernes eller andres side. </a:t>
          </a:r>
          <a:endParaRPr lang="en-US"/>
        </a:p>
      </dgm:t>
    </dgm:pt>
    <dgm:pt modelId="{704FB788-77D2-41AD-AECD-A8B18D75BD20}" type="parTrans" cxnId="{F81A19D7-9AE2-41BD-8EF3-842017E73D7E}">
      <dgm:prSet/>
      <dgm:spPr/>
      <dgm:t>
        <a:bodyPr/>
        <a:lstStyle/>
        <a:p>
          <a:endParaRPr lang="en-US"/>
        </a:p>
      </dgm:t>
    </dgm:pt>
    <dgm:pt modelId="{C503CA22-D3ED-46A4-8532-0436DB44B35D}" type="sibTrans" cxnId="{F81A19D7-9AE2-41BD-8EF3-842017E73D7E}">
      <dgm:prSet/>
      <dgm:spPr/>
      <dgm:t>
        <a:bodyPr/>
        <a:lstStyle/>
        <a:p>
          <a:endParaRPr lang="en-US"/>
        </a:p>
      </dgm:t>
    </dgm:pt>
    <dgm:pt modelId="{216125BB-1D8C-4AB0-A04D-9C0CEA35D29A}" type="pres">
      <dgm:prSet presAssocID="{95B1FC51-5D0C-4205-8362-95D4E6452221}" presName="hierChild1" presStyleCnt="0">
        <dgm:presLayoutVars>
          <dgm:chPref val="1"/>
          <dgm:dir/>
          <dgm:animOne val="branch"/>
          <dgm:animLvl val="lvl"/>
          <dgm:resizeHandles/>
        </dgm:presLayoutVars>
      </dgm:prSet>
      <dgm:spPr/>
    </dgm:pt>
    <dgm:pt modelId="{F62645B3-BE72-4238-9997-16B778F28CB6}" type="pres">
      <dgm:prSet presAssocID="{436B4FBE-D7C1-4755-A8B2-B7F3CC4D5F1C}" presName="hierRoot1" presStyleCnt="0"/>
      <dgm:spPr/>
    </dgm:pt>
    <dgm:pt modelId="{1589DA71-E65B-4FE1-B81E-D2C745463363}" type="pres">
      <dgm:prSet presAssocID="{436B4FBE-D7C1-4755-A8B2-B7F3CC4D5F1C}" presName="composite" presStyleCnt="0"/>
      <dgm:spPr/>
    </dgm:pt>
    <dgm:pt modelId="{44E1114B-3441-4EDD-B163-92492C442830}" type="pres">
      <dgm:prSet presAssocID="{436B4FBE-D7C1-4755-A8B2-B7F3CC4D5F1C}" presName="background" presStyleLbl="node0" presStyleIdx="0" presStyleCnt="2"/>
      <dgm:spPr/>
    </dgm:pt>
    <dgm:pt modelId="{0914BCC8-73E3-45B7-AF2B-D449E26E8CB3}" type="pres">
      <dgm:prSet presAssocID="{436B4FBE-D7C1-4755-A8B2-B7F3CC4D5F1C}" presName="text" presStyleLbl="fgAcc0" presStyleIdx="0" presStyleCnt="2">
        <dgm:presLayoutVars>
          <dgm:chPref val="3"/>
        </dgm:presLayoutVars>
      </dgm:prSet>
      <dgm:spPr/>
    </dgm:pt>
    <dgm:pt modelId="{72D56AAA-D333-4495-9075-B7DA37BC4163}" type="pres">
      <dgm:prSet presAssocID="{436B4FBE-D7C1-4755-A8B2-B7F3CC4D5F1C}" presName="hierChild2" presStyleCnt="0"/>
      <dgm:spPr/>
    </dgm:pt>
    <dgm:pt modelId="{C2CBBB22-F885-418E-9800-97D6E7F49BAB}" type="pres">
      <dgm:prSet presAssocID="{D4CFDE97-35B9-43A8-8088-5CE131E83EBF}" presName="hierRoot1" presStyleCnt="0"/>
      <dgm:spPr/>
    </dgm:pt>
    <dgm:pt modelId="{CA873501-6E83-490A-9418-1BFBC90D0213}" type="pres">
      <dgm:prSet presAssocID="{D4CFDE97-35B9-43A8-8088-5CE131E83EBF}" presName="composite" presStyleCnt="0"/>
      <dgm:spPr/>
    </dgm:pt>
    <dgm:pt modelId="{910C8584-ED37-4F6B-8869-A71D209430D8}" type="pres">
      <dgm:prSet presAssocID="{D4CFDE97-35B9-43A8-8088-5CE131E83EBF}" presName="background" presStyleLbl="node0" presStyleIdx="1" presStyleCnt="2"/>
      <dgm:spPr/>
    </dgm:pt>
    <dgm:pt modelId="{C4858B36-40D4-47B2-9166-6DDBBEC2FC87}" type="pres">
      <dgm:prSet presAssocID="{D4CFDE97-35B9-43A8-8088-5CE131E83EBF}" presName="text" presStyleLbl="fgAcc0" presStyleIdx="1" presStyleCnt="2">
        <dgm:presLayoutVars>
          <dgm:chPref val="3"/>
        </dgm:presLayoutVars>
      </dgm:prSet>
      <dgm:spPr/>
    </dgm:pt>
    <dgm:pt modelId="{C501A48E-EBD0-4941-A573-E89C9F600303}" type="pres">
      <dgm:prSet presAssocID="{D4CFDE97-35B9-43A8-8088-5CE131E83EBF}" presName="hierChild2" presStyleCnt="0"/>
      <dgm:spPr/>
    </dgm:pt>
  </dgm:ptLst>
  <dgm:cxnLst>
    <dgm:cxn modelId="{1AE17313-54CC-4B69-B762-FB3CEF5E3CA5}" type="presOf" srcId="{436B4FBE-D7C1-4755-A8B2-B7F3CC4D5F1C}" destId="{0914BCC8-73E3-45B7-AF2B-D449E26E8CB3}" srcOrd="0" destOrd="0" presId="urn:microsoft.com/office/officeart/2005/8/layout/hierarchy1"/>
    <dgm:cxn modelId="{BA7D9760-36E5-4315-99F1-C23359A099C1}" srcId="{95B1FC51-5D0C-4205-8362-95D4E6452221}" destId="{436B4FBE-D7C1-4755-A8B2-B7F3CC4D5F1C}" srcOrd="0" destOrd="0" parTransId="{A5578DAB-93E8-41BA-8787-3D3B4F431693}" sibTransId="{8C3E7B41-1F42-44F4-86BE-F8B5DA65B23B}"/>
    <dgm:cxn modelId="{B297DBB6-6F8F-4D68-B4B1-1983859A2D9D}" type="presOf" srcId="{95B1FC51-5D0C-4205-8362-95D4E6452221}" destId="{216125BB-1D8C-4AB0-A04D-9C0CEA35D29A}" srcOrd="0" destOrd="0" presId="urn:microsoft.com/office/officeart/2005/8/layout/hierarchy1"/>
    <dgm:cxn modelId="{F81A19D7-9AE2-41BD-8EF3-842017E73D7E}" srcId="{95B1FC51-5D0C-4205-8362-95D4E6452221}" destId="{D4CFDE97-35B9-43A8-8088-5CE131E83EBF}" srcOrd="1" destOrd="0" parTransId="{704FB788-77D2-41AD-AECD-A8B18D75BD20}" sibTransId="{C503CA22-D3ED-46A4-8532-0436DB44B35D}"/>
    <dgm:cxn modelId="{E73470F9-47C8-445F-B50A-2144CCD3284B}" type="presOf" srcId="{D4CFDE97-35B9-43A8-8088-5CE131E83EBF}" destId="{C4858B36-40D4-47B2-9166-6DDBBEC2FC87}" srcOrd="0" destOrd="0" presId="urn:microsoft.com/office/officeart/2005/8/layout/hierarchy1"/>
    <dgm:cxn modelId="{8EDC7C74-412F-4F07-87AF-BA5616C50AD5}" type="presParOf" srcId="{216125BB-1D8C-4AB0-A04D-9C0CEA35D29A}" destId="{F62645B3-BE72-4238-9997-16B778F28CB6}" srcOrd="0" destOrd="0" presId="urn:microsoft.com/office/officeart/2005/8/layout/hierarchy1"/>
    <dgm:cxn modelId="{810463C9-AE68-4E2F-AA06-310CAAD3732A}" type="presParOf" srcId="{F62645B3-BE72-4238-9997-16B778F28CB6}" destId="{1589DA71-E65B-4FE1-B81E-D2C745463363}" srcOrd="0" destOrd="0" presId="urn:microsoft.com/office/officeart/2005/8/layout/hierarchy1"/>
    <dgm:cxn modelId="{6FFCD7A5-1650-4411-B74B-80379871E12D}" type="presParOf" srcId="{1589DA71-E65B-4FE1-B81E-D2C745463363}" destId="{44E1114B-3441-4EDD-B163-92492C442830}" srcOrd="0" destOrd="0" presId="urn:microsoft.com/office/officeart/2005/8/layout/hierarchy1"/>
    <dgm:cxn modelId="{57FACB00-BEC9-49E5-8E91-B335A7F5BEED}" type="presParOf" srcId="{1589DA71-E65B-4FE1-B81E-D2C745463363}" destId="{0914BCC8-73E3-45B7-AF2B-D449E26E8CB3}" srcOrd="1" destOrd="0" presId="urn:microsoft.com/office/officeart/2005/8/layout/hierarchy1"/>
    <dgm:cxn modelId="{2D103ED8-18B0-4638-903D-A1571DEDB6D0}" type="presParOf" srcId="{F62645B3-BE72-4238-9997-16B778F28CB6}" destId="{72D56AAA-D333-4495-9075-B7DA37BC4163}" srcOrd="1" destOrd="0" presId="urn:microsoft.com/office/officeart/2005/8/layout/hierarchy1"/>
    <dgm:cxn modelId="{674D4075-AA4F-4C94-9643-23DB6D586929}" type="presParOf" srcId="{216125BB-1D8C-4AB0-A04D-9C0CEA35D29A}" destId="{C2CBBB22-F885-418E-9800-97D6E7F49BAB}" srcOrd="1" destOrd="0" presId="urn:microsoft.com/office/officeart/2005/8/layout/hierarchy1"/>
    <dgm:cxn modelId="{4A042E03-70B4-4840-8CD1-F3FC33EAB3C9}" type="presParOf" srcId="{C2CBBB22-F885-418E-9800-97D6E7F49BAB}" destId="{CA873501-6E83-490A-9418-1BFBC90D0213}" srcOrd="0" destOrd="0" presId="urn:microsoft.com/office/officeart/2005/8/layout/hierarchy1"/>
    <dgm:cxn modelId="{750B35D4-E9B5-4DB7-8E41-1B99A76A2FC7}" type="presParOf" srcId="{CA873501-6E83-490A-9418-1BFBC90D0213}" destId="{910C8584-ED37-4F6B-8869-A71D209430D8}" srcOrd="0" destOrd="0" presId="urn:microsoft.com/office/officeart/2005/8/layout/hierarchy1"/>
    <dgm:cxn modelId="{50298F2D-94D0-4046-B3F3-22B521393964}" type="presParOf" srcId="{CA873501-6E83-490A-9418-1BFBC90D0213}" destId="{C4858B36-40D4-47B2-9166-6DDBBEC2FC87}" srcOrd="1" destOrd="0" presId="urn:microsoft.com/office/officeart/2005/8/layout/hierarchy1"/>
    <dgm:cxn modelId="{D9CBEEE7-BE56-49D6-82ED-36B1B3069615}" type="presParOf" srcId="{C2CBBB22-F885-418E-9800-97D6E7F49BAB}" destId="{C501A48E-EBD0-4941-A573-E89C9F600303}"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31AB7C-706C-4CE9-AA38-DDC8F576809B}">
      <dsp:nvSpPr>
        <dsp:cNvPr id="0" name=""/>
        <dsp:cNvSpPr/>
      </dsp:nvSpPr>
      <dsp:spPr>
        <a:xfrm rot="5400000">
          <a:off x="1782952" y="517556"/>
          <a:ext cx="3481070" cy="331622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64770" rIns="129540" bIns="64770" numCol="1" spcCol="1270" anchor="ctr" anchorCtr="0">
          <a:noAutofit/>
        </a:bodyPr>
        <a:lstStyle/>
        <a:p>
          <a:pPr marL="285750" lvl="1" indent="-285750" algn="l" defTabSz="1511300">
            <a:lnSpc>
              <a:spcPct val="90000"/>
            </a:lnSpc>
            <a:spcBef>
              <a:spcPct val="0"/>
            </a:spcBef>
            <a:spcAft>
              <a:spcPct val="15000"/>
            </a:spcAft>
            <a:buChar char="•"/>
          </a:pPr>
          <a:r>
            <a:rPr lang="da-DK" sz="3400" kern="1200"/>
            <a:t>Hvordan tolker I dette?</a:t>
          </a:r>
          <a:endParaRPr lang="en-US" sz="3400" kern="1200"/>
        </a:p>
        <a:p>
          <a:pPr marL="285750" lvl="1" indent="-285750" algn="l" defTabSz="1511300">
            <a:lnSpc>
              <a:spcPct val="90000"/>
            </a:lnSpc>
            <a:spcBef>
              <a:spcPct val="0"/>
            </a:spcBef>
            <a:spcAft>
              <a:spcPct val="15000"/>
            </a:spcAft>
            <a:buChar char="•"/>
          </a:pPr>
          <a:r>
            <a:rPr lang="da-DK" sz="3400" kern="1200"/>
            <a:t>Har i haft en dialog omkring det med jeres leder?</a:t>
          </a:r>
          <a:endParaRPr lang="en-US" sz="3400" kern="1200"/>
        </a:p>
      </dsp:txBody>
      <dsp:txXfrm rot="-5400000">
        <a:off x="1865375" y="597019"/>
        <a:ext cx="3154339" cy="3157300"/>
      </dsp:txXfrm>
    </dsp:sp>
    <dsp:sp modelId="{50C43154-1993-4C17-B9F4-95F5EC905573}">
      <dsp:nvSpPr>
        <dsp:cNvPr id="0" name=""/>
        <dsp:cNvSpPr/>
      </dsp:nvSpPr>
      <dsp:spPr>
        <a:xfrm>
          <a:off x="0" y="0"/>
          <a:ext cx="1865376" cy="43513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da-DK" sz="3000" kern="1200" dirty="0"/>
            <a:t>Diskuter ved bordene:</a:t>
          </a:r>
          <a:endParaRPr lang="en-US" sz="3000" kern="1200" dirty="0"/>
        </a:p>
      </dsp:txBody>
      <dsp:txXfrm>
        <a:off x="91060" y="91060"/>
        <a:ext cx="1683256" cy="41692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E1114B-3441-4EDD-B163-92492C442830}">
      <dsp:nvSpPr>
        <dsp:cNvPr id="0" name=""/>
        <dsp:cNvSpPr/>
      </dsp:nvSpPr>
      <dsp:spPr>
        <a:xfrm>
          <a:off x="1333" y="110983"/>
          <a:ext cx="4682211" cy="29732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14BCC8-73E3-45B7-AF2B-D449E26E8CB3}">
      <dsp:nvSpPr>
        <dsp:cNvPr id="0" name=""/>
        <dsp:cNvSpPr/>
      </dsp:nvSpPr>
      <dsp:spPr>
        <a:xfrm>
          <a:off x="521579" y="605216"/>
          <a:ext cx="4682211" cy="297320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da-DK" sz="2300" b="0" i="0" kern="1200" baseline="0"/>
            <a:t>Alle ansatte skal behandles med respekt og værdighed, og det skal være trygt og sikkert at gå på arbejde i Frederiksberg Kommune. </a:t>
          </a:r>
          <a:endParaRPr lang="en-US" sz="2300" kern="1200"/>
        </a:p>
      </dsp:txBody>
      <dsp:txXfrm>
        <a:off x="608661" y="692298"/>
        <a:ext cx="4508047" cy="2799040"/>
      </dsp:txXfrm>
    </dsp:sp>
    <dsp:sp modelId="{910C8584-ED37-4F6B-8869-A71D209430D8}">
      <dsp:nvSpPr>
        <dsp:cNvPr id="0" name=""/>
        <dsp:cNvSpPr/>
      </dsp:nvSpPr>
      <dsp:spPr>
        <a:xfrm>
          <a:off x="5724037" y="110983"/>
          <a:ext cx="4682211" cy="29732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858B36-40D4-47B2-9166-6DDBBEC2FC87}">
      <dsp:nvSpPr>
        <dsp:cNvPr id="0" name=""/>
        <dsp:cNvSpPr/>
      </dsp:nvSpPr>
      <dsp:spPr>
        <a:xfrm>
          <a:off x="6244283" y="605216"/>
          <a:ext cx="4682211" cy="297320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da-DK" sz="2300" b="0" i="0" kern="1200" baseline="0"/>
            <a:t>Frederiksberg kommune accepterer derfor ikke nogen form for krænkende handlinger mod kommunens ansatte, uanset det drejer sig om krænkende handlinger internt i organisationen eller om krænkende handlinger fra borgernes eller andres side. </a:t>
          </a:r>
          <a:endParaRPr lang="en-US" sz="2300" kern="1200"/>
        </a:p>
      </dsp:txBody>
      <dsp:txXfrm>
        <a:off x="6331365" y="692298"/>
        <a:ext cx="4508047" cy="279904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F1527D8-8589-40CC-873D-EBFE2809A501}" type="datetimeFigureOut">
              <a:rPr lang="da-DK" smtClean="0"/>
              <a:t>01-10-2024</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5599F38-6C5F-49EB-82E0-2624FB3238C2}" type="slidenum">
              <a:rPr lang="da-DK" smtClean="0"/>
              <a:t>‹nr.›</a:t>
            </a:fld>
            <a:endParaRPr lang="da-DK"/>
          </a:p>
        </p:txBody>
      </p:sp>
    </p:spTree>
    <p:extLst>
      <p:ext uri="{BB962C8B-B14F-4D97-AF65-F5344CB8AC3E}">
        <p14:creationId xmlns:p14="http://schemas.microsoft.com/office/powerpoint/2010/main" val="2662164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a:t>
            </a:fld>
            <a:endParaRPr lang="da-DK"/>
          </a:p>
        </p:txBody>
      </p:sp>
    </p:spTree>
    <p:extLst>
      <p:ext uri="{BB962C8B-B14F-4D97-AF65-F5344CB8AC3E}">
        <p14:creationId xmlns:p14="http://schemas.microsoft.com/office/powerpoint/2010/main" val="33136286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5</a:t>
            </a:fld>
            <a:endParaRPr lang="da-DK"/>
          </a:p>
        </p:txBody>
      </p:sp>
    </p:spTree>
    <p:extLst>
      <p:ext uri="{BB962C8B-B14F-4D97-AF65-F5344CB8AC3E}">
        <p14:creationId xmlns:p14="http://schemas.microsoft.com/office/powerpoint/2010/main" val="38810524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52</a:t>
            </a:fld>
            <a:endParaRPr lang="da-DK"/>
          </a:p>
        </p:txBody>
      </p:sp>
    </p:spTree>
    <p:extLst>
      <p:ext uri="{BB962C8B-B14F-4D97-AF65-F5344CB8AC3E}">
        <p14:creationId xmlns:p14="http://schemas.microsoft.com/office/powerpoint/2010/main" val="473930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a:t>
            </a:fld>
            <a:endParaRPr lang="da-DK"/>
          </a:p>
        </p:txBody>
      </p:sp>
    </p:spTree>
    <p:extLst>
      <p:ext uri="{BB962C8B-B14F-4D97-AF65-F5344CB8AC3E}">
        <p14:creationId xmlns:p14="http://schemas.microsoft.com/office/powerpoint/2010/main" val="36664288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2</a:t>
            </a:fld>
            <a:endParaRPr lang="da-DK"/>
          </a:p>
        </p:txBody>
      </p:sp>
    </p:spTree>
    <p:extLst>
      <p:ext uri="{BB962C8B-B14F-4D97-AF65-F5344CB8AC3E}">
        <p14:creationId xmlns:p14="http://schemas.microsoft.com/office/powerpoint/2010/main" val="4078630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4</a:t>
            </a:fld>
            <a:endParaRPr lang="da-DK"/>
          </a:p>
        </p:txBody>
      </p:sp>
    </p:spTree>
    <p:extLst>
      <p:ext uri="{BB962C8B-B14F-4D97-AF65-F5344CB8AC3E}">
        <p14:creationId xmlns:p14="http://schemas.microsoft.com/office/powerpoint/2010/main" val="2667020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B50EB1C-60B9-4FBB-943C-A47A0EED7803}"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645522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0</a:t>
            </a:fld>
            <a:endParaRPr lang="da-DK"/>
          </a:p>
        </p:txBody>
      </p:sp>
    </p:spTree>
    <p:extLst>
      <p:ext uri="{BB962C8B-B14F-4D97-AF65-F5344CB8AC3E}">
        <p14:creationId xmlns:p14="http://schemas.microsoft.com/office/powerpoint/2010/main" val="2242300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66A4D0-323C-4CC3-975F-6B45CBCD9457}"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475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8</a:t>
            </a:fld>
            <a:endParaRPr lang="da-DK"/>
          </a:p>
        </p:txBody>
      </p:sp>
    </p:spTree>
    <p:extLst>
      <p:ext uri="{BB962C8B-B14F-4D97-AF65-F5344CB8AC3E}">
        <p14:creationId xmlns:p14="http://schemas.microsoft.com/office/powerpoint/2010/main" val="2451767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1</a:t>
            </a:fld>
            <a:endParaRPr lang="da-DK"/>
          </a:p>
        </p:txBody>
      </p:sp>
    </p:spTree>
    <p:extLst>
      <p:ext uri="{BB962C8B-B14F-4D97-AF65-F5344CB8AC3E}">
        <p14:creationId xmlns:p14="http://schemas.microsoft.com/office/powerpoint/2010/main" val="24130401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3.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29.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30.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AEAD08-2C34-411B-8315-DCA82B7B1F1E}"/>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6F2D3734-715A-41C6-A7AC-CDFB01C75B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D9937B0-49D1-49B3-A454-FAFCACC785CD}"/>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924F1D84-00DE-4201-8C41-02B824A9683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BF7A71-0B1F-4F99-891B-9AC61FC6943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8405382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1C2751-51DE-49BD-8232-EBF308E707C7}"/>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7B454FE3-ACF1-4AE2-9212-8F111CB481C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D63C502-9AE5-4B10-84D8-651D0D81BF69}"/>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70E37C96-F96C-449C-AFAC-7FD644CEC21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761991A-0F1A-4C72-A001-CB21923B715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937441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B8F632-14F1-44D5-BFE4-D4EC387B7AF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AD5E2BAF-E795-4E4B-BC3A-8E579C4DAC6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A587E49-B066-4EBC-B680-01BAD9819551}"/>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B2BF53FC-B35A-46AF-814B-7D5527FD7DF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3773F4D-0575-436F-A11B-1011EF0887A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531150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4246687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3358995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2255890055"/>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54481350"/>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4104295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B9108F-78D7-90AF-A7E8-B5F02DBB9F25}"/>
              </a:ext>
            </a:extLst>
          </p:cNvPr>
          <p:cNvSpPr>
            <a:spLocks noGrp="1"/>
          </p:cNvSpPr>
          <p:nvPr>
            <p:ph type="title"/>
          </p:nvPr>
        </p:nvSpPr>
        <p:spPr/>
        <p:txBody>
          <a:bodyPr/>
          <a:lstStyle/>
          <a:p>
            <a:r>
              <a:rPr lang="en-GB"/>
              <a:t>Click to edit Master title style</a:t>
            </a:r>
            <a:endParaRPr lang="da-DK"/>
          </a:p>
        </p:txBody>
      </p:sp>
      <p:sp>
        <p:nvSpPr>
          <p:cNvPr id="3" name="Pladsholder til indhold 2">
            <a:extLst>
              <a:ext uri="{FF2B5EF4-FFF2-40B4-BE49-F238E27FC236}">
                <a16:creationId xmlns:a16="http://schemas.microsoft.com/office/drawing/2014/main" id="{8879096D-8E09-0D78-582A-BD1D47F563D1}"/>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Pladsholder til indhold 3">
            <a:extLst>
              <a:ext uri="{FF2B5EF4-FFF2-40B4-BE49-F238E27FC236}">
                <a16:creationId xmlns:a16="http://schemas.microsoft.com/office/drawing/2014/main" id="{333C819E-7361-B347-7BD9-F5F7903651C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Pladsholder til dato 4">
            <a:extLst>
              <a:ext uri="{FF2B5EF4-FFF2-40B4-BE49-F238E27FC236}">
                <a16:creationId xmlns:a16="http://schemas.microsoft.com/office/drawing/2014/main" id="{88004880-BDA7-860C-FBCC-E631C3EADB25}"/>
              </a:ext>
            </a:extLst>
          </p:cNvPr>
          <p:cNvSpPr>
            <a:spLocks noGrp="1"/>
          </p:cNvSpPr>
          <p:nvPr>
            <p:ph type="dt" sz="half" idx="10"/>
          </p:nvPr>
        </p:nvSpPr>
        <p:spPr/>
        <p:txBody>
          <a:bodyPr/>
          <a:lstStyle/>
          <a:p>
            <a:fld id="{60584354-F39C-4B06-88E8-BBF064C9A674}" type="datetimeFigureOut">
              <a:rPr lang="da-DK" smtClean="0"/>
              <a:t>01-10-2024</a:t>
            </a:fld>
            <a:endParaRPr lang="da-DK"/>
          </a:p>
        </p:txBody>
      </p:sp>
      <p:sp>
        <p:nvSpPr>
          <p:cNvPr id="6" name="Pladsholder til sidefod 5">
            <a:extLst>
              <a:ext uri="{FF2B5EF4-FFF2-40B4-BE49-F238E27FC236}">
                <a16:creationId xmlns:a16="http://schemas.microsoft.com/office/drawing/2014/main" id="{8CBD0C4E-0239-696C-06C5-C6D5A91AD4E5}"/>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CCE747BB-5B30-B2D9-59E1-0A2E86F6A78C}"/>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37580471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Tom (3 blade)">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0DA5DF2F-3D64-A1EC-4457-91ACF5B37B25}"/>
              </a:ext>
            </a:extLst>
          </p:cNvPr>
          <p:cNvSpPr>
            <a:spLocks noGrp="1"/>
          </p:cNvSpPr>
          <p:nvPr>
            <p:ph type="dt" sz="half" idx="10"/>
          </p:nvPr>
        </p:nvSpPr>
        <p:spPr/>
        <p:txBody>
          <a:bodyPr/>
          <a:lstStyle/>
          <a:p>
            <a:fld id="{60584354-F39C-4B06-88E8-BBF064C9A674}" type="datetimeFigureOut">
              <a:rPr lang="da-DK" smtClean="0"/>
              <a:t>01-10-2024</a:t>
            </a:fld>
            <a:endParaRPr lang="da-DK"/>
          </a:p>
        </p:txBody>
      </p:sp>
      <p:sp>
        <p:nvSpPr>
          <p:cNvPr id="3" name="Pladsholder til sidefod 2">
            <a:extLst>
              <a:ext uri="{FF2B5EF4-FFF2-40B4-BE49-F238E27FC236}">
                <a16:creationId xmlns:a16="http://schemas.microsoft.com/office/drawing/2014/main" id="{D84743EA-8365-74DD-8333-2978C69729D1}"/>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6494580D-2D49-593A-6DFB-C962432738B6}"/>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32598798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1_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2A0599-5B50-6CEA-9A08-F1113ADA18D8}"/>
              </a:ext>
            </a:extLst>
          </p:cNvPr>
          <p:cNvSpPr>
            <a:spLocks noGrp="1"/>
          </p:cNvSpPr>
          <p:nvPr>
            <p:ph type="title"/>
          </p:nvPr>
        </p:nvSpPr>
        <p:spPr>
          <a:xfrm>
            <a:off x="838200" y="681038"/>
            <a:ext cx="10515600" cy="717456"/>
          </a:xfrm>
        </p:spPr>
        <p:txBody>
          <a:bodyPr>
            <a:normAutofit/>
          </a:bodyPr>
          <a:lstStyle>
            <a:lvl1pPr>
              <a:defRPr sz="3600"/>
            </a:lvl1pPr>
          </a:lstStyle>
          <a:p>
            <a:r>
              <a:rPr lang="en-GB" dirty="0"/>
              <a:t>Click to edit Master title style</a:t>
            </a:r>
            <a:endParaRPr lang="da-DK" dirty="0"/>
          </a:p>
        </p:txBody>
      </p:sp>
      <p:sp>
        <p:nvSpPr>
          <p:cNvPr id="3" name="Pladsholder til dato 2">
            <a:extLst>
              <a:ext uri="{FF2B5EF4-FFF2-40B4-BE49-F238E27FC236}">
                <a16:creationId xmlns:a16="http://schemas.microsoft.com/office/drawing/2014/main" id="{35E67953-C8C2-B436-875E-20A7A66CEF54}"/>
              </a:ext>
            </a:extLst>
          </p:cNvPr>
          <p:cNvSpPr>
            <a:spLocks noGrp="1"/>
          </p:cNvSpPr>
          <p:nvPr>
            <p:ph type="dt" sz="half" idx="10"/>
          </p:nvPr>
        </p:nvSpPr>
        <p:spPr/>
        <p:txBody>
          <a:bodyPr/>
          <a:lstStyle/>
          <a:p>
            <a:fld id="{60584354-F39C-4B06-88E8-BBF064C9A674}" type="datetimeFigureOut">
              <a:rPr lang="da-DK" smtClean="0"/>
              <a:t>01-10-2024</a:t>
            </a:fld>
            <a:endParaRPr lang="da-DK"/>
          </a:p>
        </p:txBody>
      </p:sp>
      <p:sp>
        <p:nvSpPr>
          <p:cNvPr id="4" name="Pladsholder til sidefod 3">
            <a:extLst>
              <a:ext uri="{FF2B5EF4-FFF2-40B4-BE49-F238E27FC236}">
                <a16:creationId xmlns:a16="http://schemas.microsoft.com/office/drawing/2014/main" id="{78573B06-DD96-81E7-770E-E6FA9C5858F0}"/>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89618AF5-6E99-D6A0-029C-9A91B035B4B1}"/>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28067568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93DA85-297A-4D19-9783-CC6087DAB9D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15464F6-814B-4075-8C9B-3257E52BC418}"/>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DB0727C-52CC-4533-9596-8948ADC656DF}"/>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E797ECC6-29E8-43EC-8241-F032E3210A6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A249845-F8DA-4A74-8F3F-588D4465E21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3445469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8178D-E0B0-4E11-9049-321CB2067159}"/>
              </a:ext>
            </a:extLst>
          </p:cNvPr>
          <p:cNvSpPr>
            <a:spLocks noGrp="1"/>
          </p:cNvSpPr>
          <p:nvPr>
            <p:ph type="title"/>
          </p:nvPr>
        </p:nvSpPr>
        <p:spPr>
          <a:xfrm>
            <a:off x="839788" y="365125"/>
            <a:ext cx="10515600" cy="1325563"/>
          </a:xfrm>
        </p:spPr>
        <p:txBody>
          <a:bodyPr/>
          <a:lstStyle/>
          <a:p>
            <a:r>
              <a:rPr lang="en-GB"/>
              <a:t>Click to edit Master title style</a:t>
            </a:r>
            <a:endParaRPr lang="da-DK"/>
          </a:p>
        </p:txBody>
      </p:sp>
      <p:sp>
        <p:nvSpPr>
          <p:cNvPr id="3" name="Pladsholder til tekst 2">
            <a:extLst>
              <a:ext uri="{FF2B5EF4-FFF2-40B4-BE49-F238E27FC236}">
                <a16:creationId xmlns:a16="http://schemas.microsoft.com/office/drawing/2014/main" id="{79B3A4BB-D1FE-207F-5594-AC5528B2D0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Pladsholder til indhold 3">
            <a:extLst>
              <a:ext uri="{FF2B5EF4-FFF2-40B4-BE49-F238E27FC236}">
                <a16:creationId xmlns:a16="http://schemas.microsoft.com/office/drawing/2014/main" id="{1D462B60-BD48-15DD-D821-11A5C25288FD}"/>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Pladsholder til tekst 4">
            <a:extLst>
              <a:ext uri="{FF2B5EF4-FFF2-40B4-BE49-F238E27FC236}">
                <a16:creationId xmlns:a16="http://schemas.microsoft.com/office/drawing/2014/main" id="{F670C76D-4DA8-CC58-C078-77BA886EB1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Pladsholder til indhold 5">
            <a:extLst>
              <a:ext uri="{FF2B5EF4-FFF2-40B4-BE49-F238E27FC236}">
                <a16:creationId xmlns:a16="http://schemas.microsoft.com/office/drawing/2014/main" id="{7AC18438-316C-EC55-7913-E52515A86FB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7" name="Pladsholder til dato 6">
            <a:extLst>
              <a:ext uri="{FF2B5EF4-FFF2-40B4-BE49-F238E27FC236}">
                <a16:creationId xmlns:a16="http://schemas.microsoft.com/office/drawing/2014/main" id="{045BEC78-3877-0765-B4AC-9F181C339876}"/>
              </a:ext>
            </a:extLst>
          </p:cNvPr>
          <p:cNvSpPr>
            <a:spLocks noGrp="1"/>
          </p:cNvSpPr>
          <p:nvPr>
            <p:ph type="dt" sz="half" idx="10"/>
          </p:nvPr>
        </p:nvSpPr>
        <p:spPr/>
        <p:txBody>
          <a:bodyPr/>
          <a:lstStyle/>
          <a:p>
            <a:fld id="{60584354-F39C-4B06-88E8-BBF064C9A674}" type="datetimeFigureOut">
              <a:rPr lang="da-DK" smtClean="0"/>
              <a:t>01-10-2024</a:t>
            </a:fld>
            <a:endParaRPr lang="da-DK"/>
          </a:p>
        </p:txBody>
      </p:sp>
      <p:sp>
        <p:nvSpPr>
          <p:cNvPr id="8" name="Pladsholder til sidefod 7">
            <a:extLst>
              <a:ext uri="{FF2B5EF4-FFF2-40B4-BE49-F238E27FC236}">
                <a16:creationId xmlns:a16="http://schemas.microsoft.com/office/drawing/2014/main" id="{A8A2E313-0BAD-F011-1A92-E3DD3A76891F}"/>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58A5A57B-B47D-DB3A-1F62-ADD143BE3D21}"/>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837564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852881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22838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23310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9970" name="Picture 2" descr="https://www.frederiksberg.dk/sites/default/files/2017-01/frb-have-eftermiddag.jpg">
            <a:extLst>
              <a:ext uri="{FF2B5EF4-FFF2-40B4-BE49-F238E27FC236}">
                <a16:creationId xmlns:a16="http://schemas.microsoft.com/office/drawing/2014/main" id="{ED773A70-52BE-42A8-8EF8-0D7E97B7B1F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922" b="2307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308545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988729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2018" name="Picture 2" descr="https://www.frederiksberg.dk/sites/default/files/2018-11/frederiksberg_have_vinter_0.jpg">
            <a:extLst>
              <a:ext uri="{FF2B5EF4-FFF2-40B4-BE49-F238E27FC236}">
                <a16:creationId xmlns:a16="http://schemas.microsoft.com/office/drawing/2014/main" id="{8804EF0A-91A0-4D06-A8B8-68F5E1E14690}"/>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348" b="14054"/>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01062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ersion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31160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lede 7">
            <a:extLst>
              <a:ext uri="{FF2B5EF4-FFF2-40B4-BE49-F238E27FC236}">
                <a16:creationId xmlns:a16="http://schemas.microsoft.com/office/drawing/2014/main" id="{A4AD7337-ADAA-4FC0-B470-2CEE3087285B}"/>
              </a:ext>
            </a:extLst>
          </p:cNvPr>
          <p:cNvPicPr>
            <a:picLocks noChangeAspect="1"/>
          </p:cNvPicPr>
          <p:nvPr userDrawn="1"/>
        </p:nvPicPr>
        <p:blipFill rotWithShape="1">
          <a:blip r:embed="rId5"/>
          <a:srcRect t="2385" b="11492"/>
          <a:stretch/>
        </p:blipFill>
        <p:spPr>
          <a:xfrm>
            <a:off x="-1" y="0"/>
            <a:ext cx="12192001" cy="6858000"/>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rgbClr val="BFBFBF">
              <a:alpha val="67000"/>
            </a:srgbClr>
          </a:solidFill>
        </p:spPr>
        <p:txBody>
          <a:bodyPr lIns="180000" anchor="ctr" anchorCtr="0"/>
          <a:lstStyle>
            <a:lvl1pPr marL="0" indent="0" algn="l">
              <a:buNone/>
              <a:defRPr sz="4000" b="1">
                <a:solidFill>
                  <a:schemeClr val="accent1"/>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3587392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ersion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3798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a:extLst>
              <a:ext uri="{FF2B5EF4-FFF2-40B4-BE49-F238E27FC236}">
                <a16:creationId xmlns:a16="http://schemas.microsoft.com/office/drawing/2014/main" id="{8D3F554F-E105-44A1-94F3-47526C28CCE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53" t="9004" r="8889" b="13235"/>
          <a:stretch/>
        </p:blipFill>
        <p:spPr>
          <a:xfrm>
            <a:off x="0" y="0"/>
            <a:ext cx="12192000" cy="6885383"/>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chemeClr val="accent1">
              <a:alpha val="62000"/>
            </a:schemeClr>
          </a:solidFill>
        </p:spPr>
        <p:txBody>
          <a:bodyPr lIns="180000" anchor="ctr" anchorCtr="0"/>
          <a:lstStyle>
            <a:lvl1pPr marL="0" indent="0" algn="l">
              <a:buNone/>
              <a:defRPr sz="40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1325213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52027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90866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7309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5525977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m versio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4E996D1-B45B-42E5-A004-71E5234287BE}"/>
              </a:ext>
            </a:extLst>
          </p:cNvPr>
          <p:cNvGraphicFramePr>
            <a:graphicFrameLocks noChangeAspect="1"/>
          </p:cNvGraphicFramePr>
          <p:nvPr userDrawn="1">
            <p:custDataLst>
              <p:tags r:id="rId1"/>
            </p:custDataLst>
            <p:extLst>
              <p:ext uri="{D42A27DB-BD31-4B8C-83A1-F6EECF244321}">
                <p14:modId xmlns:p14="http://schemas.microsoft.com/office/powerpoint/2010/main" val="341900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kt 2" hidden="1">
                        <a:extLst>
                          <a:ext uri="{FF2B5EF4-FFF2-40B4-BE49-F238E27FC236}">
                            <a16:creationId xmlns:a16="http://schemas.microsoft.com/office/drawing/2014/main" id="{54E996D1-B45B-42E5-A004-71E5234287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lede 3" descr="Frb_logo_rgb.png">
            <a:extLst>
              <a:ext uri="{FF2B5EF4-FFF2-40B4-BE49-F238E27FC236}">
                <a16:creationId xmlns:a16="http://schemas.microsoft.com/office/drawing/2014/main" id="{B3AEE825-B8CA-44C9-9AB7-ECE60AA95B95}"/>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8997333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20552515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41912-45EA-4D33-90E7-4E1507B2421C}"/>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D5EA5F5-4F22-4ED5-BD02-4D4262E98B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D34DF9-EC20-4E45-9908-437E7B79C0F1}"/>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25AC98CD-1FD6-46BF-AD13-57DF001D767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523FF45-1F78-40E4-8658-BA2A66EC775C}"/>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7323121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22324614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55715070"/>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33770053"/>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8688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005733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13002218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04283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99618839"/>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30762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422182322"/>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44654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7166396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249896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AEAD08-2C34-411B-8315-DCA82B7B1F1E}"/>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6F2D3734-715A-41C6-A7AC-CDFB01C75B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D9937B0-49D1-49B3-A454-FAFCACC785CD}"/>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924F1D84-00DE-4201-8C41-02B824A9683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BF7A71-0B1F-4F99-891B-9AC61FC6943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4575379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E0502F-E17C-4323-9D6D-BD6DB10F16C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A8C1D30-5C8F-464F-AB5C-E06C0EB66760}"/>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B81616A7-A7CA-43CA-8120-1FBCFFED6C10}"/>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3379D92-48DC-4631-8358-E2F9FC6BE7CD}"/>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6" name="Pladsholder til sidefod 5">
            <a:extLst>
              <a:ext uri="{FF2B5EF4-FFF2-40B4-BE49-F238E27FC236}">
                <a16:creationId xmlns:a16="http://schemas.microsoft.com/office/drawing/2014/main" id="{0F76E51A-E8CA-46BB-92DE-CBE6E715660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2701E74-5FA9-4076-98F5-D2833EC89F10}"/>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2185372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93DA85-297A-4D19-9783-CC6087DAB9D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15464F6-814B-4075-8C9B-3257E52BC418}"/>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DB0727C-52CC-4533-9596-8948ADC656DF}"/>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E797ECC6-29E8-43EC-8241-F032E3210A6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A249845-F8DA-4A74-8F3F-588D4465E21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5281598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41912-45EA-4D33-90E7-4E1507B2421C}"/>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D5EA5F5-4F22-4ED5-BD02-4D4262E98B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D34DF9-EC20-4E45-9908-437E7B79C0F1}"/>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25AC98CD-1FD6-46BF-AD13-57DF001D767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523FF45-1F78-40E4-8658-BA2A66EC775C}"/>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8245456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E0502F-E17C-4323-9D6D-BD6DB10F16C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A8C1D30-5C8F-464F-AB5C-E06C0EB66760}"/>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B81616A7-A7CA-43CA-8120-1FBCFFED6C10}"/>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3379D92-48DC-4631-8358-E2F9FC6BE7CD}"/>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6" name="Pladsholder til sidefod 5">
            <a:extLst>
              <a:ext uri="{FF2B5EF4-FFF2-40B4-BE49-F238E27FC236}">
                <a16:creationId xmlns:a16="http://schemas.microsoft.com/office/drawing/2014/main" id="{0F76E51A-E8CA-46BB-92DE-CBE6E715660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2701E74-5FA9-4076-98F5-D2833EC89F10}"/>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9739927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B4F31-BBBA-4BD5-93EC-AE592451FB5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E76C463D-9008-42EA-82EA-696BCDD26E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123621F9-ED6B-4897-8653-AB304A2406A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ADC6882-E0A9-46AA-93DB-23E261D4AE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3707D027-4E3C-4346-B201-D3742196C975}"/>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F81B47-62DD-40A7-8D02-0230B3050E8D}"/>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8" name="Pladsholder til sidefod 7">
            <a:extLst>
              <a:ext uri="{FF2B5EF4-FFF2-40B4-BE49-F238E27FC236}">
                <a16:creationId xmlns:a16="http://schemas.microsoft.com/office/drawing/2014/main" id="{5D476C7F-AA5B-453C-B240-8138272E846D}"/>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7CA9F297-B038-46A4-912D-6F54F380660D}"/>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242545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51C552-0AC0-452A-A07B-7639EFCB8347}"/>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88B8D1A-A814-4D50-A6FB-3EAA3CFA7EBD}"/>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4" name="Pladsholder til sidefod 3">
            <a:extLst>
              <a:ext uri="{FF2B5EF4-FFF2-40B4-BE49-F238E27FC236}">
                <a16:creationId xmlns:a16="http://schemas.microsoft.com/office/drawing/2014/main" id="{0F8D9FBC-A889-4662-B531-240131326F4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FED61A0D-A451-4415-B38E-51873C5CB898}"/>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8070876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725F8E3-A483-430E-909F-845FA72CDC1C}"/>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3" name="Pladsholder til sidefod 2">
            <a:extLst>
              <a:ext uri="{FF2B5EF4-FFF2-40B4-BE49-F238E27FC236}">
                <a16:creationId xmlns:a16="http://schemas.microsoft.com/office/drawing/2014/main" id="{4E107BB0-45BB-42CD-A223-A03858A17764}"/>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270285A7-8B6F-4643-A926-8AC5C19D933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194632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06D25-F5F4-4240-AAF9-785860A1749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8F157AE4-3E2B-41AE-B9B3-59C02DD04D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F808147-A133-4CE2-AEBC-6DF16E398A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A847E6DA-B74B-4C31-A154-7E7255C5600E}"/>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6" name="Pladsholder til sidefod 5">
            <a:extLst>
              <a:ext uri="{FF2B5EF4-FFF2-40B4-BE49-F238E27FC236}">
                <a16:creationId xmlns:a16="http://schemas.microsoft.com/office/drawing/2014/main" id="{13FD698D-AF54-4D21-B24A-2073635183A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5D7BF10-704D-4381-AE04-6A10E1F2C432}"/>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9458245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E4EDE-88F9-42EA-9A02-236305F80AE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6216368-37CE-4514-AA29-32F76B8B1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4F2622B-7D92-4065-AD95-0007F35589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4A520C64-0F3B-4521-9D8E-88565A83ADF2}"/>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6" name="Pladsholder til sidefod 5">
            <a:extLst>
              <a:ext uri="{FF2B5EF4-FFF2-40B4-BE49-F238E27FC236}">
                <a16:creationId xmlns:a16="http://schemas.microsoft.com/office/drawing/2014/main" id="{C63FE7C7-8B13-4884-8E47-DC947163660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4491FD3-8136-47DB-87B8-5F1588E5F4D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111474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1C2751-51DE-49BD-8232-EBF308E707C7}"/>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7B454FE3-ACF1-4AE2-9212-8F111CB481C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D63C502-9AE5-4B10-84D8-651D0D81BF69}"/>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70E37C96-F96C-449C-AFAC-7FD644CEC21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761991A-0F1A-4C72-A001-CB21923B715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0352489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B8F632-14F1-44D5-BFE4-D4EC387B7AF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AD5E2BAF-E795-4E4B-BC3A-8E579C4DAC6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A587E49-B066-4EBC-B680-01BAD9819551}"/>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B2BF53FC-B35A-46AF-814B-7D5527FD7DF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3773F4D-0575-436F-A11B-1011EF0887A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249302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B4F31-BBBA-4BD5-93EC-AE592451FB5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E76C463D-9008-42EA-82EA-696BCDD26E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123621F9-ED6B-4897-8653-AB304A2406A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ADC6882-E0A9-46AA-93DB-23E261D4AE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3707D027-4E3C-4346-B201-D3742196C975}"/>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F81B47-62DD-40A7-8D02-0230B3050E8D}"/>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8" name="Pladsholder til sidefod 7">
            <a:extLst>
              <a:ext uri="{FF2B5EF4-FFF2-40B4-BE49-F238E27FC236}">
                <a16:creationId xmlns:a16="http://schemas.microsoft.com/office/drawing/2014/main" id="{5D476C7F-AA5B-453C-B240-8138272E846D}"/>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7CA9F297-B038-46A4-912D-6F54F380660D}"/>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0966830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52027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543452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005733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9646391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04283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3956596165"/>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da-DK"/>
              <a:t>Klik for at redigere titeltypografien i masteren</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en-US" dirty="0"/>
          </a:p>
        </p:txBody>
      </p:sp>
      <p:sp>
        <p:nvSpPr>
          <p:cNvPr id="4"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33066651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Content Placeholder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15658012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da-DK"/>
              <a:t>Klik for at redigere titeltypografien i masteren</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teksttypografierne i masteren</a:t>
            </a:r>
          </a:p>
        </p:txBody>
      </p:sp>
      <p:sp>
        <p:nvSpPr>
          <p:cNvPr id="4"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12540873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Date Placeholder 4"/>
          <p:cNvSpPr>
            <a:spLocks noGrp="1"/>
          </p:cNvSpPr>
          <p:nvPr>
            <p:ph type="dt" sz="half" idx="10"/>
          </p:nvPr>
        </p:nvSpPr>
        <p:spPr/>
        <p:txBody>
          <a:bodyPr/>
          <a:lstStyle/>
          <a:p>
            <a:fld id="{E6319DF8-B501-465C-A051-754729BEA1B1}" type="datetimeFigureOut">
              <a:rPr lang="da-DK" smtClean="0"/>
              <a:t>01-10-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34286636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a:t>Klik for at redigere titeltypografien i masteren</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Date Placeholder 6"/>
          <p:cNvSpPr>
            <a:spLocks noGrp="1"/>
          </p:cNvSpPr>
          <p:nvPr>
            <p:ph type="dt" sz="half" idx="10"/>
          </p:nvPr>
        </p:nvSpPr>
        <p:spPr/>
        <p:txBody>
          <a:bodyPr/>
          <a:lstStyle/>
          <a:p>
            <a:fld id="{E6319DF8-B501-465C-A051-754729BEA1B1}" type="datetimeFigureOut">
              <a:rPr lang="da-DK" smtClean="0"/>
              <a:t>01-10-2024</a:t>
            </a:fld>
            <a:endParaRPr lang="da-DK"/>
          </a:p>
        </p:txBody>
      </p:sp>
      <p:sp>
        <p:nvSpPr>
          <p:cNvPr id="8" name="Footer Placeholder 7"/>
          <p:cNvSpPr>
            <a:spLocks noGrp="1"/>
          </p:cNvSpPr>
          <p:nvPr>
            <p:ph type="ftr" sz="quarter" idx="11"/>
          </p:nvPr>
        </p:nvSpPr>
        <p:spPr/>
        <p:txBody>
          <a:bodyPr/>
          <a:lstStyle/>
          <a:p>
            <a:endParaRPr lang="da-DK"/>
          </a:p>
        </p:txBody>
      </p:sp>
      <p:sp>
        <p:nvSpPr>
          <p:cNvPr id="9" name="Slide Number Placeholder 8"/>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17200630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7" name="Date Placeholder 2"/>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3"/>
          <p:cNvSpPr>
            <a:spLocks noGrp="1"/>
          </p:cNvSpPr>
          <p:nvPr>
            <p:ph type="ftr" sz="quarter" idx="11"/>
          </p:nvPr>
        </p:nvSpPr>
        <p:spPr/>
        <p:txBody>
          <a:bodyPr/>
          <a:lstStyle/>
          <a:p>
            <a:endParaRPr lang="da-DK"/>
          </a:p>
        </p:txBody>
      </p:sp>
      <p:sp>
        <p:nvSpPr>
          <p:cNvPr id="6" name="Slide Number Placeholder 4"/>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6146208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2"/>
          <p:cNvSpPr>
            <a:spLocks noGrp="1"/>
          </p:cNvSpPr>
          <p:nvPr>
            <p:ph type="ftr" sz="quarter" idx="11"/>
          </p:nvPr>
        </p:nvSpPr>
        <p:spPr/>
        <p:txBody>
          <a:bodyPr/>
          <a:lstStyle/>
          <a:p>
            <a:endParaRPr lang="da-DK"/>
          </a:p>
        </p:txBody>
      </p:sp>
      <p:sp>
        <p:nvSpPr>
          <p:cNvPr id="6" name="Slide Number Placeholder 3"/>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18520712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51C552-0AC0-452A-A07B-7639EFCB8347}"/>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88B8D1A-A814-4D50-A6FB-3EAA3CFA7EBD}"/>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4" name="Pladsholder til sidefod 3">
            <a:extLst>
              <a:ext uri="{FF2B5EF4-FFF2-40B4-BE49-F238E27FC236}">
                <a16:creationId xmlns:a16="http://schemas.microsoft.com/office/drawing/2014/main" id="{0F8D9FBC-A889-4662-B531-240131326F4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FED61A0D-A451-4415-B38E-51873C5CB898}"/>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760591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2400" b="0"/>
            </a:lvl1pPr>
          </a:lstStyle>
          <a:p>
            <a:r>
              <a:rPr lang="da-DK"/>
              <a:t>Klik for at redigere titeltypografien i masteren</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Text Placeholder 3"/>
          <p:cNvSpPr>
            <a:spLocks noGrp="1"/>
          </p:cNvSpPr>
          <p:nvPr>
            <p:ph type="body" sz="half" idx="2"/>
          </p:nvPr>
        </p:nvSpPr>
        <p:spPr>
          <a:xfrm>
            <a:off x="1154953"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7" name="Date Placeholder 4"/>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5"/>
          <p:cNvSpPr>
            <a:spLocks noGrp="1"/>
          </p:cNvSpPr>
          <p:nvPr>
            <p:ph type="ftr" sz="quarter" idx="11"/>
          </p:nvPr>
        </p:nvSpPr>
        <p:spPr/>
        <p:txBody>
          <a:bodyPr/>
          <a:lstStyle/>
          <a:p>
            <a:endParaRPr lang="da-DK"/>
          </a:p>
        </p:txBody>
      </p:sp>
      <p:sp>
        <p:nvSpPr>
          <p:cNvPr id="6" name="Slide Number Placeholder 6"/>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38712728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da-DK"/>
              <a:t>Klik for at redigere titeltypografien i masteren</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a-DK"/>
              <a:t>Klik på ikonet for at tilføje et billede</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E6319DF8-B501-465C-A051-754729BEA1B1}" type="datetimeFigureOut">
              <a:rPr lang="da-DK" smtClean="0"/>
              <a:t>01-10-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36008819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Panoramisk billede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da-DK"/>
              <a:t>Klik for at redigere titeltypografien i masteren</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a-DK"/>
              <a:t>Klik på ikonet for at tilføje et billede</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E6319DF8-B501-465C-A051-754729BEA1B1}" type="datetimeFigureOut">
              <a:rPr lang="da-DK" smtClean="0"/>
              <a:t>01-10-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11933116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el og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da-DK"/>
              <a:t>Klik for at redigere titeltypografien i masteren</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4"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11550796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itat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da-DK"/>
              <a:t>Klik for at redigere titeltypografien i masteren</a:t>
            </a:r>
            <a:endParaRPr lang="en-US" dirty="0"/>
          </a:p>
        </p:txBody>
      </p:sp>
      <p:sp>
        <p:nvSpPr>
          <p:cNvPr id="11" name="Text Placeholder 3"/>
          <p:cNvSpPr>
            <a:spLocks noGrp="1"/>
          </p:cNvSpPr>
          <p:nvPr>
            <p:ph type="body" sz="half" idx="14"/>
          </p:nvPr>
        </p:nvSpPr>
        <p:spPr>
          <a:xfrm>
            <a:off x="1930400" y="3771174"/>
            <a:ext cx="727964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da-DK"/>
              <a:t>Klik for at redigere teksttypografierne i masteren</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4"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
        <p:nvSpPr>
          <p:cNvPr id="12" name="TextBox 11"/>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
        <p:nvSpPr>
          <p:cNvPr id="15" name="TextBox 14"/>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Tree>
    <p:extLst>
      <p:ext uri="{BB962C8B-B14F-4D97-AF65-F5344CB8AC3E}">
        <p14:creationId xmlns:p14="http://schemas.microsoft.com/office/powerpoint/2010/main" val="7402838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Navnekort">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da-DK"/>
              <a:t>Klik for at redigere titeltypografien i masteren</a:t>
            </a:r>
            <a:endParaRPr lang="en-US" dirty="0"/>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teksttypografierne i masteren</a:t>
            </a:r>
          </a:p>
        </p:txBody>
      </p:sp>
      <p:sp>
        <p:nvSpPr>
          <p:cNvPr id="4"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13675081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kolonn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da-DK"/>
              <a:t>Klik for at redigere titeltypografien i masteren</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cxnSp>
        <p:nvCxnSpPr>
          <p:cNvPr id="17" name="Straight Connector 16"/>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4"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38657275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 kolonner med bille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da-DK"/>
              <a:t>Klik for at redigere titeltypografien i masteren</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a-DK"/>
              <a:t>Klik på ikonet for at tilføje et billede</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a-DK"/>
              <a:t>Klik på ikonet for at tilføje et billede</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a-DK"/>
              <a:t>Klik på ikonet for at tilføje et billede</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cxnSp>
        <p:nvCxnSpPr>
          <p:cNvPr id="19" name="Straight Connector 18"/>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4"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10167111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Vertical Text Placeholder 2"/>
          <p:cNvSpPr>
            <a:spLocks noGrp="1"/>
          </p:cNvSpPr>
          <p:nvPr>
            <p:ph type="body" orient="vert" idx="1"/>
          </p:nvPr>
        </p:nvSpPr>
        <p:spPr/>
        <p:txBody>
          <a:bodyPr vert="eaVert" anchor="t" anchorCtr="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34634863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da-DK"/>
              <a:t>Klik for at redigere titeltypografien i masteren</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E6319DF8-B501-465C-A051-754729BEA1B1}" type="datetimeFigureOut">
              <a:rPr lang="da-DK" smtClean="0"/>
              <a:t>01-10-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0042B5D8-542B-40BB-BD03-43F1447D6327}" type="slidenum">
              <a:rPr lang="da-DK" smtClean="0"/>
              <a:t>‹nr.›</a:t>
            </a:fld>
            <a:endParaRPr lang="da-DK"/>
          </a:p>
        </p:txBody>
      </p:sp>
    </p:spTree>
    <p:extLst>
      <p:ext uri="{BB962C8B-B14F-4D97-AF65-F5344CB8AC3E}">
        <p14:creationId xmlns:p14="http://schemas.microsoft.com/office/powerpoint/2010/main" val="1253746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725F8E3-A483-430E-909F-845FA72CDC1C}"/>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3" name="Pladsholder til sidefod 2">
            <a:extLst>
              <a:ext uri="{FF2B5EF4-FFF2-40B4-BE49-F238E27FC236}">
                <a16:creationId xmlns:a16="http://schemas.microsoft.com/office/drawing/2014/main" id="{4E107BB0-45BB-42CD-A223-A03858A17764}"/>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270285A7-8B6F-4643-A926-8AC5C19D933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361800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06D25-F5F4-4240-AAF9-785860A1749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8F157AE4-3E2B-41AE-B9B3-59C02DD04D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F808147-A133-4CE2-AEBC-6DF16E398A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A847E6DA-B74B-4C31-A154-7E7255C5600E}"/>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6" name="Pladsholder til sidefod 5">
            <a:extLst>
              <a:ext uri="{FF2B5EF4-FFF2-40B4-BE49-F238E27FC236}">
                <a16:creationId xmlns:a16="http://schemas.microsoft.com/office/drawing/2014/main" id="{13FD698D-AF54-4D21-B24A-2073635183A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5D7BF10-704D-4381-AE04-6A10E1F2C432}"/>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160788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E4EDE-88F9-42EA-9A02-236305F80AE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6216368-37CE-4514-AA29-32F76B8B1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4F2622B-7D92-4065-AD95-0007F35589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4A520C64-0F3B-4521-9D8E-88565A83ADF2}"/>
              </a:ext>
            </a:extLst>
          </p:cNvPr>
          <p:cNvSpPr>
            <a:spLocks noGrp="1"/>
          </p:cNvSpPr>
          <p:nvPr>
            <p:ph type="dt" sz="half" idx="10"/>
          </p:nvPr>
        </p:nvSpPr>
        <p:spPr/>
        <p:txBody>
          <a:bodyPr/>
          <a:lstStyle/>
          <a:p>
            <a:fld id="{2382F8BB-A165-423C-80EE-2C0E0EDE406D}" type="datetimeFigureOut">
              <a:rPr lang="da-DK" smtClean="0"/>
              <a:t>01-10-2024</a:t>
            </a:fld>
            <a:endParaRPr lang="da-DK"/>
          </a:p>
        </p:txBody>
      </p:sp>
      <p:sp>
        <p:nvSpPr>
          <p:cNvPr id="6" name="Pladsholder til sidefod 5">
            <a:extLst>
              <a:ext uri="{FF2B5EF4-FFF2-40B4-BE49-F238E27FC236}">
                <a16:creationId xmlns:a16="http://schemas.microsoft.com/office/drawing/2014/main" id="{C63FE7C7-8B13-4884-8E47-DC947163660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4491FD3-8136-47DB-87B8-5F1588E5F4D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174554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7.bin"/><Relationship Id="rId5" Type="http://schemas.openxmlformats.org/officeDocument/2006/relationships/slideLayout" Target="../slideLayouts/slideLayout25.xml"/><Relationship Id="rId10" Type="http://schemas.openxmlformats.org/officeDocument/2006/relationships/tags" Target="../tags/tag7.xml"/><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slideLayout" Target="../slideLayouts/slideLayout31.xml"/><Relationship Id="rId7" Type="http://schemas.openxmlformats.org/officeDocument/2006/relationships/tags" Target="../tags/tag16.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4.xml"/><Relationship Id="rId5" Type="http://schemas.openxmlformats.org/officeDocument/2006/relationships/slideLayout" Target="../slideLayouts/slideLayout33.xml"/><Relationship Id="rId10" Type="http://schemas.openxmlformats.org/officeDocument/2006/relationships/image" Target="../media/image2.png"/><Relationship Id="rId4" Type="http://schemas.openxmlformats.org/officeDocument/2006/relationships/slideLayout" Target="../slideLayouts/slideLayout32.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36.xml"/><Relationship Id="rId7" Type="http://schemas.openxmlformats.org/officeDocument/2006/relationships/tags" Target="../tags/tag22.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image" Target="../media/image2.png"/><Relationship Id="rId4" Type="http://schemas.openxmlformats.org/officeDocument/2006/relationships/slideLayout" Target="../slideLayouts/slideLayout37.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heme" Target="../theme/theme6.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theme" Target="../theme/theme7.xml"/><Relationship Id="rId3" Type="http://schemas.openxmlformats.org/officeDocument/2006/relationships/slideLayout" Target="../slideLayouts/slideLayout55.xml"/><Relationship Id="rId21" Type="http://schemas.openxmlformats.org/officeDocument/2006/relationships/image" Target="../media/image12.png"/><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image" Target="../media/image11.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image" Target="../media/image10.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BD3FCA50-75F4-47CB-8895-E59CF2DDD6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13BF105-A10D-4925-915F-2C451A2E40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C6909CD-8FA0-49CB-B0C8-784F0FF7C7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5AE98CA8-CE34-4953-B8EB-9171A7D92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C4489F3A-4DCC-4B3A-AAED-4731DC0995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F1C15F-B3FA-4AB0-8D16-C156FEF94E53}" type="slidenum">
              <a:rPr lang="da-DK" smtClean="0"/>
              <a:t>‹nr.›</a:t>
            </a:fld>
            <a:endParaRPr lang="da-DK"/>
          </a:p>
        </p:txBody>
      </p:sp>
    </p:spTree>
    <p:extLst>
      <p:ext uri="{BB962C8B-B14F-4D97-AF65-F5344CB8AC3E}">
        <p14:creationId xmlns:p14="http://schemas.microsoft.com/office/powerpoint/2010/main" val="10493865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8" name="Objekt 7" hidden="1"/>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p:nvPicPr>
        <p:blipFill>
          <a:blip r:embed="rId14"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37151734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0"/>
            </p:custDataLst>
            <p:extLst>
              <p:ext uri="{D42A27DB-BD31-4B8C-83A1-F6EECF244321}">
                <p14:modId xmlns:p14="http://schemas.microsoft.com/office/powerpoint/2010/main" val="44062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12" name="Objekt 11" hidden="1"/>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8542403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419072191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extLst>
              <p:ext uri="{D42A27DB-BD31-4B8C-83A1-F6EECF244321}">
                <p14:modId xmlns:p14="http://schemas.microsoft.com/office/powerpoint/2010/main" val="199147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253302670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BD3FCA50-75F4-47CB-8895-E59CF2DDD6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13BF105-A10D-4925-915F-2C451A2E40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C6909CD-8FA0-49CB-B0C8-784F0FF7C7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82F8BB-A165-423C-80EE-2C0E0EDE406D}" type="datetimeFigureOut">
              <a:rPr lang="da-DK" smtClean="0"/>
              <a:t>01-10-2024</a:t>
            </a:fld>
            <a:endParaRPr lang="da-DK"/>
          </a:p>
        </p:txBody>
      </p:sp>
      <p:sp>
        <p:nvSpPr>
          <p:cNvPr id="5" name="Pladsholder til sidefod 4">
            <a:extLst>
              <a:ext uri="{FF2B5EF4-FFF2-40B4-BE49-F238E27FC236}">
                <a16:creationId xmlns:a16="http://schemas.microsoft.com/office/drawing/2014/main" id="{5AE98CA8-CE34-4953-B8EB-9171A7D92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C4489F3A-4DCC-4B3A-AAED-4731DC0995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F1C15F-B3FA-4AB0-8D16-C156FEF94E53}" type="slidenum">
              <a:rPr lang="da-DK" smtClean="0"/>
              <a:t>‹nr.›</a:t>
            </a:fld>
            <a:endParaRPr lang="da-DK"/>
          </a:p>
        </p:txBody>
      </p:sp>
    </p:spTree>
    <p:extLst>
      <p:ext uri="{BB962C8B-B14F-4D97-AF65-F5344CB8AC3E}">
        <p14:creationId xmlns:p14="http://schemas.microsoft.com/office/powerpoint/2010/main" val="210474370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9">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0">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1">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2">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da-DK"/>
              <a:t>Klik for at redigere titeltypografien i masteren</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E6319DF8-B501-465C-A051-754729BEA1B1}" type="datetimeFigureOut">
              <a:rPr lang="da-DK" smtClean="0"/>
              <a:t>01-10-2024</a:t>
            </a:fld>
            <a:endParaRPr lang="da-DK"/>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da-DK"/>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0042B5D8-542B-40BB-BD03-43F1447D6327}" type="slidenum">
              <a:rPr lang="da-DK" smtClean="0"/>
              <a:t>‹nr.›</a:t>
            </a:fld>
            <a:endParaRPr lang="da-DK"/>
          </a:p>
        </p:txBody>
      </p:sp>
    </p:spTree>
    <p:extLst>
      <p:ext uri="{BB962C8B-B14F-4D97-AF65-F5344CB8AC3E}">
        <p14:creationId xmlns:p14="http://schemas.microsoft.com/office/powerpoint/2010/main" val="4134266592"/>
      </p:ext>
    </p:extLst>
  </p:cSld>
  <p:clrMap bg1="dk1" tx1="lt1" bg2="dk2" tx2="lt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Lst>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package" Target="../embeddings/Microsoft_Word_Document.docx"/><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53.xml"/><Relationship Id="rId4" Type="http://schemas.openxmlformats.org/officeDocument/2006/relationships/image" Target="../media/image25.jp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0.xml"/><Relationship Id="rId1" Type="http://schemas.openxmlformats.org/officeDocument/2006/relationships/tags" Target="../tags/tag31.xml"/><Relationship Id="rId5" Type="http://schemas.openxmlformats.org/officeDocument/2006/relationships/image" Target="../media/image27.png"/><Relationship Id="rId4" Type="http://schemas.openxmlformats.org/officeDocument/2006/relationships/image" Target="../media/image26.emf"/></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image" Target="../media/image30.png"/><Relationship Id="rId3" Type="http://schemas.openxmlformats.org/officeDocument/2006/relationships/tags" Target="../tags/tag34.xml"/><Relationship Id="rId7" Type="http://schemas.openxmlformats.org/officeDocument/2006/relationships/slideLayout" Target="../slideLayouts/slideLayout29.xml"/><Relationship Id="rId12" Type="http://schemas.openxmlformats.org/officeDocument/2006/relationships/image" Target="../media/image29.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image" Target="../media/image28.png"/><Relationship Id="rId5" Type="http://schemas.openxmlformats.org/officeDocument/2006/relationships/tags" Target="../tags/tag36.xml"/><Relationship Id="rId15" Type="http://schemas.openxmlformats.org/officeDocument/2006/relationships/chart" Target="../charts/chart1.xml"/><Relationship Id="rId10" Type="http://schemas.openxmlformats.org/officeDocument/2006/relationships/image" Target="../media/image26.emf"/><Relationship Id="rId4" Type="http://schemas.openxmlformats.org/officeDocument/2006/relationships/tags" Target="../tags/tag35.xml"/><Relationship Id="rId9" Type="http://schemas.openxmlformats.org/officeDocument/2006/relationships/oleObject" Target="../embeddings/oleObject32.bin"/><Relationship Id="rId14" Type="http://schemas.openxmlformats.org/officeDocument/2006/relationships/image" Target="../media/image31.svg"/></Relationships>
</file>

<file path=ppt/slides/_rels/slide23.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3" Type="http://schemas.openxmlformats.org/officeDocument/2006/relationships/tags" Target="../tags/tag40.xml"/><Relationship Id="rId21" Type="http://schemas.openxmlformats.org/officeDocument/2006/relationships/tags" Target="../tags/tag58.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29" Type="http://schemas.openxmlformats.org/officeDocument/2006/relationships/image" Target="../media/image26.emf"/><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oleObject" Target="../embeddings/oleObject33.bin"/><Relationship Id="rId10" Type="http://schemas.openxmlformats.org/officeDocument/2006/relationships/tags" Target="../tags/tag47.xml"/><Relationship Id="rId19" Type="http://schemas.openxmlformats.org/officeDocument/2006/relationships/tags" Target="../tags/tag56.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slideLayout" Target="../slideLayouts/slideLayout29.xml"/><Relationship Id="rId30" Type="http://schemas.openxmlformats.org/officeDocument/2006/relationships/chart" Target="../charts/chart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9.xml"/><Relationship Id="rId1" Type="http://schemas.openxmlformats.org/officeDocument/2006/relationships/tags" Target="../tags/tag64.xml"/><Relationship Id="rId4" Type="http://schemas.openxmlformats.org/officeDocument/2006/relationships/image" Target="../media/image26.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9.xml"/><Relationship Id="rId1" Type="http://schemas.openxmlformats.org/officeDocument/2006/relationships/tags" Target="../tags/tag65.xml"/><Relationship Id="rId4" Type="http://schemas.openxmlformats.org/officeDocument/2006/relationships/image" Target="../media/image26.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9.xml"/><Relationship Id="rId1" Type="http://schemas.openxmlformats.org/officeDocument/2006/relationships/tags" Target="../tags/tag66.xml"/><Relationship Id="rId4" Type="http://schemas.openxmlformats.org/officeDocument/2006/relationships/image" Target="../media/image26.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 Id="rId5" Type="http://schemas.openxmlformats.org/officeDocument/2006/relationships/hyperlink" Target="http://www.lfs.dk/" TargetMode="External"/><Relationship Id="rId4" Type="http://schemas.openxmlformats.org/officeDocument/2006/relationships/image" Target="../media/image3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0" name="Rectangle 39">
            <a:extLst>
              <a:ext uri="{FF2B5EF4-FFF2-40B4-BE49-F238E27FC236}">
                <a16:creationId xmlns:a16="http://schemas.microsoft.com/office/drawing/2014/main" id="{0B3B9DBC-97CC-4A18-B4A6-66E2402922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F4492644-1D84-449E-94E4-5FC5C873D3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227"/>
            <a:ext cx="12188952" cy="455189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BBABABA-6CDF-45F0-9A4B-1FAA4462A3B0}"/>
              </a:ext>
            </a:extLst>
          </p:cNvPr>
          <p:cNvSpPr>
            <a:spLocks noGrp="1"/>
          </p:cNvSpPr>
          <p:nvPr>
            <p:ph type="ctrTitle"/>
          </p:nvPr>
        </p:nvSpPr>
        <p:spPr>
          <a:xfrm>
            <a:off x="795342" y="637953"/>
            <a:ext cx="8272458" cy="3189507"/>
          </a:xfrm>
        </p:spPr>
        <p:txBody>
          <a:bodyPr>
            <a:normAutofit/>
          </a:bodyPr>
          <a:lstStyle/>
          <a:p>
            <a:pPr algn="l"/>
            <a:r>
              <a:rPr lang="da-DK" sz="8000" dirty="0">
                <a:solidFill>
                  <a:srgbClr val="FFFFFF"/>
                </a:solidFill>
              </a:rPr>
              <a:t>TR-møde Frederiksberg</a:t>
            </a:r>
          </a:p>
        </p:txBody>
      </p:sp>
      <p:sp>
        <p:nvSpPr>
          <p:cNvPr id="44" name="Freeform 6">
            <a:extLst>
              <a:ext uri="{FF2B5EF4-FFF2-40B4-BE49-F238E27FC236}">
                <a16:creationId xmlns:a16="http://schemas.microsoft.com/office/drawing/2014/main" id="{94EE1A74-DEBF-434E-8B5E-7AB296ECBE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7747" y="4208147"/>
            <a:ext cx="339126" cy="1938528"/>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7">
            <a:extLst>
              <a:ext uri="{FF2B5EF4-FFF2-40B4-BE49-F238E27FC236}">
                <a16:creationId xmlns:a16="http://schemas.microsoft.com/office/drawing/2014/main" id="{8C7C4D4B-92D9-4FA4-A294-749E8574FF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8739" y="4098333"/>
            <a:ext cx="201857" cy="1874520"/>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Rectangle 8">
            <a:extLst>
              <a:ext uri="{FF2B5EF4-FFF2-40B4-BE49-F238E27FC236}">
                <a16:creationId xmlns:a16="http://schemas.microsoft.com/office/drawing/2014/main" id="{BADA3358-2A3F-41B0-A458-6FD1DB3AF9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048" y="4098334"/>
            <a:ext cx="893301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Undertitel 2">
            <a:extLst>
              <a:ext uri="{FF2B5EF4-FFF2-40B4-BE49-F238E27FC236}">
                <a16:creationId xmlns:a16="http://schemas.microsoft.com/office/drawing/2014/main" id="{CE5BF6C3-7E5F-4F97-A443-E94353FEDA53}"/>
              </a:ext>
            </a:extLst>
          </p:cNvPr>
          <p:cNvSpPr>
            <a:spLocks noGrp="1"/>
          </p:cNvSpPr>
          <p:nvPr>
            <p:ph type="subTitle" idx="1"/>
          </p:nvPr>
        </p:nvSpPr>
        <p:spPr>
          <a:xfrm>
            <a:off x="795342" y="4377268"/>
            <a:ext cx="7970903" cy="1280582"/>
          </a:xfrm>
        </p:spPr>
        <p:txBody>
          <a:bodyPr anchor="t">
            <a:normAutofit/>
          </a:bodyPr>
          <a:lstStyle/>
          <a:p>
            <a:pPr algn="l"/>
            <a:r>
              <a:rPr lang="da-DK" sz="3200" dirty="0">
                <a:solidFill>
                  <a:srgbClr val="FEFFFF"/>
                </a:solidFill>
              </a:rPr>
              <a:t>Onsdag 2/10 2024</a:t>
            </a:r>
          </a:p>
        </p:txBody>
      </p:sp>
      <p:sp>
        <p:nvSpPr>
          <p:cNvPr id="50" name="Rectangle 8">
            <a:extLst>
              <a:ext uri="{FF2B5EF4-FFF2-40B4-BE49-F238E27FC236}">
                <a16:creationId xmlns:a16="http://schemas.microsoft.com/office/drawing/2014/main" id="{E4737216-37B2-43AD-AB08-05BFCCEFC9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9066873" y="4377267"/>
            <a:ext cx="312207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8948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39462324-7EF1-4F62-ACD5-67B457538559}"/>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dirty="0" err="1">
                <a:solidFill>
                  <a:srgbClr val="FFFFFF"/>
                </a:solidFill>
              </a:rPr>
              <a:t>Oktober</a:t>
            </a:r>
            <a:br>
              <a:rPr lang="en-US" sz="4000" kern="1200" dirty="0">
                <a:solidFill>
                  <a:srgbClr val="FFFFFF"/>
                </a:solidFill>
                <a:latin typeface="+mj-lt"/>
                <a:ea typeface="+mj-ea"/>
                <a:cs typeface="+mj-cs"/>
              </a:rPr>
            </a:br>
            <a:r>
              <a:rPr lang="en-US" sz="4000" kern="1200" dirty="0">
                <a:solidFill>
                  <a:srgbClr val="FFFFFF"/>
                </a:solidFill>
                <a:latin typeface="+mj-lt"/>
                <a:ea typeface="+mj-ea"/>
                <a:cs typeface="+mj-cs"/>
              </a:rPr>
              <a:t>“</a:t>
            </a:r>
            <a:r>
              <a:rPr lang="en-US" sz="4000" kern="1200" dirty="0" err="1">
                <a:solidFill>
                  <a:srgbClr val="FFFFFF"/>
                </a:solidFill>
                <a:latin typeface="+mj-lt"/>
                <a:ea typeface="+mj-ea"/>
                <a:cs typeface="+mj-cs"/>
              </a:rPr>
              <a:t>Nyt</a:t>
            </a:r>
            <a:r>
              <a:rPr lang="en-US" sz="4000" kern="1200" dirty="0">
                <a:solidFill>
                  <a:srgbClr val="FFFFFF"/>
                </a:solidFill>
                <a:latin typeface="+mj-lt"/>
                <a:ea typeface="+mj-ea"/>
                <a:cs typeface="+mj-cs"/>
              </a:rPr>
              <a:t> </a:t>
            </a:r>
            <a:r>
              <a:rPr lang="en-US" sz="4000" kern="1200" dirty="0" err="1">
                <a:solidFill>
                  <a:srgbClr val="FFFFFF"/>
                </a:solidFill>
                <a:latin typeface="+mj-lt"/>
                <a:ea typeface="+mj-ea"/>
                <a:cs typeface="+mj-cs"/>
              </a:rPr>
              <a:t>fra</a:t>
            </a:r>
            <a:r>
              <a:rPr lang="en-US" sz="4000" kern="1200" dirty="0">
                <a:solidFill>
                  <a:srgbClr val="FFFFFF"/>
                </a:solidFill>
                <a:latin typeface="+mj-lt"/>
                <a:ea typeface="+mj-ea"/>
                <a:cs typeface="+mj-cs"/>
              </a:rPr>
              <a:t> TR I LFS”</a:t>
            </a:r>
          </a:p>
        </p:txBody>
      </p:sp>
      <p:graphicFrame>
        <p:nvGraphicFramePr>
          <p:cNvPr id="3" name="Objekt 2">
            <a:extLst>
              <a:ext uri="{FF2B5EF4-FFF2-40B4-BE49-F238E27FC236}">
                <a16:creationId xmlns:a16="http://schemas.microsoft.com/office/drawing/2014/main" id="{B3BDF9A1-DDA6-59C3-0FCC-86ABDB5B0761}"/>
              </a:ext>
            </a:extLst>
          </p:cNvPr>
          <p:cNvGraphicFramePr>
            <a:graphicFrameLocks noChangeAspect="1"/>
          </p:cNvGraphicFramePr>
          <p:nvPr>
            <p:extLst>
              <p:ext uri="{D42A27DB-BD31-4B8C-83A1-F6EECF244321}">
                <p14:modId xmlns:p14="http://schemas.microsoft.com/office/powerpoint/2010/main" val="2354100721"/>
              </p:ext>
            </p:extLst>
          </p:nvPr>
        </p:nvGraphicFramePr>
        <p:xfrm>
          <a:off x="4601043" y="719716"/>
          <a:ext cx="7278687" cy="5418138"/>
        </p:xfrm>
        <a:graphic>
          <a:graphicData uri="http://schemas.openxmlformats.org/presentationml/2006/ole">
            <mc:AlternateContent xmlns:mc="http://schemas.openxmlformats.org/markup-compatibility/2006">
              <mc:Choice xmlns:v="urn:schemas-microsoft-com:vml" Requires="v">
                <p:oleObj name="Document" r:id="rId2" imgW="10666505" imgH="7939603" progId="Word.Document.12">
                  <p:embed/>
                </p:oleObj>
              </mc:Choice>
              <mc:Fallback>
                <p:oleObj name="Document" r:id="rId2" imgW="10666505" imgH="7939603" progId="Word.Document.12">
                  <p:embed/>
                  <p:pic>
                    <p:nvPicPr>
                      <p:cNvPr id="3" name="Objekt 2">
                        <a:extLst>
                          <a:ext uri="{FF2B5EF4-FFF2-40B4-BE49-F238E27FC236}">
                            <a16:creationId xmlns:a16="http://schemas.microsoft.com/office/drawing/2014/main" id="{B3BDF9A1-DDA6-59C3-0FCC-86ABDB5B0761}"/>
                          </a:ext>
                        </a:extLst>
                      </p:cNvPr>
                      <p:cNvPicPr/>
                      <p:nvPr/>
                    </p:nvPicPr>
                    <p:blipFill>
                      <a:blip r:embed="rId3"/>
                      <a:stretch>
                        <a:fillRect/>
                      </a:stretch>
                    </p:blipFill>
                    <p:spPr>
                      <a:xfrm>
                        <a:off x="4601043" y="719716"/>
                        <a:ext cx="7278687" cy="5418138"/>
                      </a:xfrm>
                      <a:prstGeom prst="rect">
                        <a:avLst/>
                      </a:prstGeom>
                    </p:spPr>
                  </p:pic>
                </p:oleObj>
              </mc:Fallback>
            </mc:AlternateContent>
          </a:graphicData>
        </a:graphic>
      </p:graphicFrame>
    </p:spTree>
    <p:extLst>
      <p:ext uri="{BB962C8B-B14F-4D97-AF65-F5344CB8AC3E}">
        <p14:creationId xmlns:p14="http://schemas.microsoft.com/office/powerpoint/2010/main" val="31914696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7" name="Rectangle 186">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ectangle 19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Billede 2" descr="Et billede, der indeholder tekst, linje/række, Font/skrifttype, skærmbillede&#10;&#10;Automatisk genereret beskrivelse">
            <a:extLst>
              <a:ext uri="{FF2B5EF4-FFF2-40B4-BE49-F238E27FC236}">
                <a16:creationId xmlns:a16="http://schemas.microsoft.com/office/drawing/2014/main" id="{8BD68CDA-7760-A67C-6172-A54AF9E01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3865" y="457200"/>
            <a:ext cx="8904269" cy="5943600"/>
          </a:xfrm>
          <a:prstGeom prst="rect">
            <a:avLst/>
          </a:prstGeom>
        </p:spPr>
      </p:pic>
    </p:spTree>
    <p:extLst>
      <p:ext uri="{BB962C8B-B14F-4D97-AF65-F5344CB8AC3E}">
        <p14:creationId xmlns:p14="http://schemas.microsoft.com/office/powerpoint/2010/main" val="21826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b="1"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AMU Kurser</a:t>
            </a:r>
          </a:p>
          <a:p>
            <a:pPr marL="342900" lvl="0" indent="-342900">
              <a:lnSpc>
                <a:spcPct val="150000"/>
              </a:lnSpc>
              <a:buFont typeface="+mj-lt"/>
              <a:buAutoNum type="arabicPeriod"/>
            </a:pPr>
            <a:r>
              <a:rPr lang="da-DK" sz="1800" dirty="0">
                <a:effectLst/>
                <a:ea typeface="Times New Roman" panose="02020603050405020304" pitchFamily="18" charset="0"/>
              </a:rPr>
              <a:t>Budget 2025 Frederiksberg</a:t>
            </a:r>
          </a:p>
          <a:p>
            <a:pPr marL="342900" lvl="0" indent="-342900">
              <a:lnSpc>
                <a:spcPct val="150000"/>
              </a:lnSpc>
              <a:buFont typeface="+mj-lt"/>
              <a:buAutoNum type="arabicPeriod"/>
            </a:pPr>
            <a:r>
              <a:rPr lang="da-DK" sz="1800" dirty="0">
                <a:ea typeface="Times New Roman" panose="02020603050405020304" pitchFamily="18" charset="0"/>
              </a:rPr>
              <a:t>Hjemmesiden</a:t>
            </a:r>
          </a:p>
          <a:p>
            <a:pPr marL="342900" lvl="0" indent="-342900">
              <a:lnSpc>
                <a:spcPct val="150000"/>
              </a:lnSpc>
              <a:buFont typeface="+mj-lt"/>
              <a:buAutoNum type="arabicPeriod"/>
            </a:pPr>
            <a:r>
              <a:rPr lang="da-DK" sz="1800" dirty="0">
                <a:effectLst/>
                <a:ea typeface="Times New Roman" panose="02020603050405020304" pitchFamily="18" charset="0"/>
              </a:rPr>
              <a:t>Tid til at mødes med nyansatte i arbejdstiden</a:t>
            </a:r>
          </a:p>
          <a:p>
            <a:pPr marL="342900" lvl="0" indent="-342900">
              <a:lnSpc>
                <a:spcPct val="150000"/>
              </a:lnSpc>
              <a:buFont typeface="+mj-lt"/>
              <a:buAutoNum type="arabicPeriod"/>
            </a:pPr>
            <a:r>
              <a:rPr lang="da-DK" sz="1800" dirty="0">
                <a:effectLst/>
                <a:ea typeface="Times New Roman" panose="02020603050405020304" pitchFamily="18" charset="0"/>
              </a:rPr>
              <a:t>Retningslinjer om krænkende handlinger</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2302926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278ADA9-6383-4BDD-80D2-8899A40268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84B7147-B0F6-40ED-B5A2-FF72BC8198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B36D2DE0-0628-4A9A-A59D-7BA8B5EB3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48E405C9-94BE-41DA-928C-DEC9A8550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15929" y="148929"/>
            <a:ext cx="6560142" cy="6560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el 1">
            <a:extLst>
              <a:ext uri="{FF2B5EF4-FFF2-40B4-BE49-F238E27FC236}">
                <a16:creationId xmlns:a16="http://schemas.microsoft.com/office/drawing/2014/main" id="{6ECF6FC4-97E2-8D52-B974-341395FBB203}"/>
              </a:ext>
            </a:extLst>
          </p:cNvPr>
          <p:cNvSpPr>
            <a:spLocks noGrp="1"/>
          </p:cNvSpPr>
          <p:nvPr>
            <p:ph type="ctrTitle"/>
          </p:nvPr>
        </p:nvSpPr>
        <p:spPr>
          <a:xfrm>
            <a:off x="3315031" y="1380754"/>
            <a:ext cx="5561938" cy="2513516"/>
          </a:xfrm>
        </p:spPr>
        <p:txBody>
          <a:bodyPr>
            <a:normAutofit/>
          </a:bodyPr>
          <a:lstStyle/>
          <a:p>
            <a:r>
              <a:rPr lang="da-DK" sz="3800" b="1" dirty="0">
                <a:effectLst/>
                <a:latin typeface="Verdana" panose="020B0604030504040204" pitchFamily="34" charset="0"/>
                <a:ea typeface="Times New Roman" panose="02020603050405020304" pitchFamily="18" charset="0"/>
              </a:rPr>
              <a:t>Velkomst runde – Nyt fra TR/institutionerne</a:t>
            </a:r>
            <a:br>
              <a:rPr lang="da-DK" sz="3800" b="1" dirty="0">
                <a:effectLst/>
                <a:latin typeface="Times New Roman" panose="02020603050405020304" pitchFamily="18" charset="0"/>
                <a:ea typeface="Times New Roman" panose="02020603050405020304" pitchFamily="18" charset="0"/>
              </a:rPr>
            </a:br>
            <a:endParaRPr lang="da-DK" sz="3800" dirty="0"/>
          </a:p>
        </p:txBody>
      </p:sp>
      <p:sp>
        <p:nvSpPr>
          <p:cNvPr id="3" name="Undertitel 2">
            <a:extLst>
              <a:ext uri="{FF2B5EF4-FFF2-40B4-BE49-F238E27FC236}">
                <a16:creationId xmlns:a16="http://schemas.microsoft.com/office/drawing/2014/main" id="{50FEB607-8A44-C344-82B2-3A9DEF1359B2}"/>
              </a:ext>
            </a:extLst>
          </p:cNvPr>
          <p:cNvSpPr>
            <a:spLocks noGrp="1"/>
          </p:cNvSpPr>
          <p:nvPr>
            <p:ph type="subTitle" idx="1"/>
          </p:nvPr>
        </p:nvSpPr>
        <p:spPr>
          <a:xfrm>
            <a:off x="3315031" y="4076802"/>
            <a:ext cx="5561938" cy="1534587"/>
          </a:xfrm>
        </p:spPr>
        <p:txBody>
          <a:bodyPr>
            <a:normAutofit/>
          </a:bodyPr>
          <a:lstStyle/>
          <a:p>
            <a:r>
              <a:rPr lang="da-DK" dirty="0"/>
              <a:t>Alle fortæller kort hvem de er og hvad der fylder i institutionen og som TR </a:t>
            </a:r>
          </a:p>
        </p:txBody>
      </p:sp>
      <p:sp>
        <p:nvSpPr>
          <p:cNvPr id="16" name="Arc 15">
            <a:extLst>
              <a:ext uri="{FF2B5EF4-FFF2-40B4-BE49-F238E27FC236}">
                <a16:creationId xmlns:a16="http://schemas.microsoft.com/office/drawing/2014/main" id="{D2091A72-D5BB-42AC-8FD3-F7747D9086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2494119" y="6170"/>
            <a:ext cx="6816262" cy="6816262"/>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 name="Oval 17">
            <a:extLst>
              <a:ext uri="{FF2B5EF4-FFF2-40B4-BE49-F238E27FC236}">
                <a16:creationId xmlns:a16="http://schemas.microsoft.com/office/drawing/2014/main" id="{6ED12BFC-A737-46AF-8411-481112D54B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00995" y="5310973"/>
            <a:ext cx="705948" cy="6867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8125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b="1" dirty="0">
                <a:effectLst/>
                <a:ea typeface="Times New Roman" panose="02020603050405020304" pitchFamily="18" charset="0"/>
              </a:rPr>
              <a:t>AMU Kurser</a:t>
            </a:r>
          </a:p>
          <a:p>
            <a:pPr marL="342900" lvl="0" indent="-342900">
              <a:lnSpc>
                <a:spcPct val="150000"/>
              </a:lnSpc>
              <a:buFont typeface="+mj-lt"/>
              <a:buAutoNum type="arabicPeriod"/>
            </a:pPr>
            <a:r>
              <a:rPr lang="da-DK" sz="1800" dirty="0">
                <a:effectLst/>
                <a:ea typeface="Times New Roman" panose="02020603050405020304" pitchFamily="18" charset="0"/>
              </a:rPr>
              <a:t>Budget 2025 Frederiksberg</a:t>
            </a:r>
          </a:p>
          <a:p>
            <a:pPr marL="342900" lvl="0" indent="-342900">
              <a:lnSpc>
                <a:spcPct val="150000"/>
              </a:lnSpc>
              <a:buFont typeface="+mj-lt"/>
              <a:buAutoNum type="arabicPeriod"/>
            </a:pPr>
            <a:r>
              <a:rPr lang="da-DK" sz="1800" dirty="0">
                <a:ea typeface="Times New Roman" panose="02020603050405020304" pitchFamily="18" charset="0"/>
              </a:rPr>
              <a:t>Hjemmesiden</a:t>
            </a:r>
          </a:p>
          <a:p>
            <a:pPr marL="342900" lvl="0" indent="-342900">
              <a:lnSpc>
                <a:spcPct val="150000"/>
              </a:lnSpc>
              <a:buFont typeface="+mj-lt"/>
              <a:buAutoNum type="arabicPeriod"/>
            </a:pPr>
            <a:r>
              <a:rPr lang="da-DK" sz="1800" dirty="0">
                <a:effectLst/>
                <a:ea typeface="Times New Roman" panose="02020603050405020304" pitchFamily="18" charset="0"/>
              </a:rPr>
              <a:t>Tid til at mødes med nyansatte i arbejdstiden</a:t>
            </a:r>
          </a:p>
          <a:p>
            <a:pPr marL="342900" lvl="0" indent="-342900">
              <a:lnSpc>
                <a:spcPct val="150000"/>
              </a:lnSpc>
              <a:buFont typeface="+mj-lt"/>
              <a:buAutoNum type="arabicPeriod"/>
            </a:pPr>
            <a:r>
              <a:rPr lang="da-DK" sz="1800" dirty="0">
                <a:effectLst/>
                <a:ea typeface="Times New Roman" panose="02020603050405020304" pitchFamily="18" charset="0"/>
              </a:rPr>
              <a:t>Retningslinjer om krænkende handlinger</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18934185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9000"/>
                <a:hueMod val="108000"/>
                <a:satMod val="164000"/>
                <a:lumMod val="74000"/>
              </a:schemeClr>
              <a:schemeClr val="bg2">
                <a:tint val="96000"/>
                <a:hueMod val="88000"/>
                <a:satMod val="140000"/>
                <a:lumMod val="132000"/>
              </a:schemeClr>
            </a:duotone>
          </a:blip>
          <a:stretch/>
        </a:blip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E6A222EB-A81E-4238-B08D-AAB1828C8E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19" name="Rectangle 18">
            <a:extLst>
              <a:ext uri="{FF2B5EF4-FFF2-40B4-BE49-F238E27FC236}">
                <a16:creationId xmlns:a16="http://schemas.microsoft.com/office/drawing/2014/main" id="{E014676C-074B-475A-8346-9C901C86C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cxnSp>
        <p:nvCxnSpPr>
          <p:cNvPr id="21" name="Straight Connector 20">
            <a:extLst>
              <a:ext uri="{FF2B5EF4-FFF2-40B4-BE49-F238E27FC236}">
                <a16:creationId xmlns:a16="http://schemas.microsoft.com/office/drawing/2014/main" id="{179C4C8E-197B-4679-AE96-B5147F971C9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356687" y="1930986"/>
            <a:ext cx="0" cy="3200400"/>
          </a:xfrm>
          <a:prstGeom prst="line">
            <a:avLst/>
          </a:prstGeom>
          <a:ln w="15875" cap="sq">
            <a:solidFill>
              <a:schemeClr val="tx2">
                <a:alpha val="70000"/>
              </a:schemeClr>
            </a:solidFill>
            <a:miter lim="800000"/>
          </a:ln>
        </p:spPr>
        <p:style>
          <a:lnRef idx="1">
            <a:schemeClr val="accent1"/>
          </a:lnRef>
          <a:fillRef idx="0">
            <a:schemeClr val="accent1"/>
          </a:fillRef>
          <a:effectRef idx="0">
            <a:schemeClr val="accent1"/>
          </a:effectRef>
          <a:fontRef idx="minor">
            <a:schemeClr val="tx1"/>
          </a:fontRef>
        </p:style>
      </p:cxnSp>
      <p:sp>
        <p:nvSpPr>
          <p:cNvPr id="3" name="Undertitel 2">
            <a:extLst>
              <a:ext uri="{FF2B5EF4-FFF2-40B4-BE49-F238E27FC236}">
                <a16:creationId xmlns:a16="http://schemas.microsoft.com/office/drawing/2014/main" id="{AF7728BE-B2C6-3A99-6344-84DFCBAE5649}"/>
              </a:ext>
            </a:extLst>
          </p:cNvPr>
          <p:cNvSpPr>
            <a:spLocks noGrp="1"/>
          </p:cNvSpPr>
          <p:nvPr>
            <p:ph type="subTitle" idx="1"/>
          </p:nvPr>
        </p:nvSpPr>
        <p:spPr>
          <a:xfrm>
            <a:off x="1154955" y="1266958"/>
            <a:ext cx="2904124" cy="4528457"/>
          </a:xfrm>
        </p:spPr>
        <p:txBody>
          <a:bodyPr anchor="ctr">
            <a:normAutofit/>
          </a:bodyPr>
          <a:lstStyle/>
          <a:p>
            <a:pPr algn="r"/>
            <a:r>
              <a:rPr lang="da-DK">
                <a:solidFill>
                  <a:schemeClr val="tx2"/>
                </a:solidFill>
              </a:rPr>
              <a:t>Hvad, hvorfor og Hvordan</a:t>
            </a:r>
          </a:p>
        </p:txBody>
      </p:sp>
      <p:sp>
        <p:nvSpPr>
          <p:cNvPr id="2" name="Titel 1">
            <a:extLst>
              <a:ext uri="{FF2B5EF4-FFF2-40B4-BE49-F238E27FC236}">
                <a16:creationId xmlns:a16="http://schemas.microsoft.com/office/drawing/2014/main" id="{5C5F8EAB-E989-57F6-CED1-FF78C1396EC5}"/>
              </a:ext>
            </a:extLst>
          </p:cNvPr>
          <p:cNvSpPr>
            <a:spLocks noGrp="1"/>
          </p:cNvSpPr>
          <p:nvPr>
            <p:ph type="ctrTitle"/>
          </p:nvPr>
        </p:nvSpPr>
        <p:spPr>
          <a:xfrm>
            <a:off x="4654295" y="1266958"/>
            <a:ext cx="6808362" cy="4528457"/>
          </a:xfrm>
        </p:spPr>
        <p:txBody>
          <a:bodyPr anchor="ctr">
            <a:normAutofit/>
          </a:bodyPr>
          <a:lstStyle/>
          <a:p>
            <a:r>
              <a:rPr lang="da-DK"/>
              <a:t>AMU kurser</a:t>
            </a:r>
          </a:p>
        </p:txBody>
      </p:sp>
      <p:pic>
        <p:nvPicPr>
          <p:cNvPr id="7" name="Billede 6" descr="Et billede, der indeholder tekst, plakat, grafisk design, Grafik&#10;&#10;Automatisk genereret beskrivelse">
            <a:extLst>
              <a:ext uri="{FF2B5EF4-FFF2-40B4-BE49-F238E27FC236}">
                <a16:creationId xmlns:a16="http://schemas.microsoft.com/office/drawing/2014/main" id="{3F1FB938-5324-F245-57F5-BBD690F1839E}"/>
              </a:ext>
            </a:extLst>
          </p:cNvPr>
          <p:cNvPicPr>
            <a:picLocks noChangeAspect="1"/>
          </p:cNvPicPr>
          <p:nvPr/>
        </p:nvPicPr>
        <p:blipFill>
          <a:blip r:embed="rId4">
            <a:alphaModFix amt="20000"/>
            <a:extLst>
              <a:ext uri="{28A0092B-C50C-407E-A947-70E740481C1C}">
                <a14:useLocalDpi xmlns:a14="http://schemas.microsoft.com/office/drawing/2010/main" val="0"/>
              </a:ext>
            </a:extLst>
          </a:blip>
          <a:stretch>
            <a:fillRect/>
          </a:stretch>
        </p:blipFill>
        <p:spPr>
          <a:xfrm>
            <a:off x="45943" y="4713514"/>
            <a:ext cx="1858802" cy="2144486"/>
          </a:xfrm>
          <a:prstGeom prst="rect">
            <a:avLst/>
          </a:prstGeom>
        </p:spPr>
      </p:pic>
    </p:spTree>
    <p:extLst>
      <p:ext uri="{BB962C8B-B14F-4D97-AF65-F5344CB8AC3E}">
        <p14:creationId xmlns:p14="http://schemas.microsoft.com/office/powerpoint/2010/main" val="3479720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00"/>
                                        <p:tgtEl>
                                          <p:spTgt spid="3">
                                            <p:txEl>
                                              <p:pRg st="0" end="0"/>
                                            </p:txEl>
                                          </p:spTgt>
                                        </p:tgtEl>
                                      </p:cBhvr>
                                    </p:animEffect>
                                  </p:childTnLst>
                                </p:cTn>
                              </p:par>
                              <p:par>
                                <p:cTn id="8" presetID="10" presetClass="entr" presetSubtype="0" fill="hold" grpId="0" nodeType="withEffect">
                                  <p:stCondLst>
                                    <p:cond delay="500"/>
                                  </p:stCondLst>
                                  <p:iterate>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236C4A-4726-3C85-5609-D684A33140AD}"/>
              </a:ext>
            </a:extLst>
          </p:cNvPr>
          <p:cNvSpPr>
            <a:spLocks noGrp="1"/>
          </p:cNvSpPr>
          <p:nvPr>
            <p:ph type="title"/>
          </p:nvPr>
        </p:nvSpPr>
        <p:spPr/>
        <p:txBody>
          <a:bodyPr/>
          <a:lstStyle/>
          <a:p>
            <a:r>
              <a:rPr lang="da-DK" dirty="0"/>
              <a:t>AMU Kurser</a:t>
            </a:r>
          </a:p>
        </p:txBody>
      </p:sp>
      <p:sp>
        <p:nvSpPr>
          <p:cNvPr id="3" name="Pladsholder til billede 2">
            <a:extLst>
              <a:ext uri="{FF2B5EF4-FFF2-40B4-BE49-F238E27FC236}">
                <a16:creationId xmlns:a16="http://schemas.microsoft.com/office/drawing/2014/main" id="{791331F7-E2D6-04CF-B593-0C035308686F}"/>
              </a:ext>
            </a:extLst>
          </p:cNvPr>
          <p:cNvSpPr>
            <a:spLocks noGrp="1"/>
          </p:cNvSpPr>
          <p:nvPr>
            <p:ph type="pic" idx="1"/>
          </p:nvPr>
        </p:nvSpPr>
        <p:spPr/>
        <p:txBody>
          <a:bodyPr/>
          <a:lstStyle/>
          <a:p>
            <a:r>
              <a:rPr lang="da-DK" dirty="0"/>
              <a:t>Rammer:</a:t>
            </a:r>
          </a:p>
          <a:p>
            <a:r>
              <a:rPr lang="da-DK" u="sng" dirty="0"/>
              <a:t>Gratis for: P</a:t>
            </a:r>
            <a:r>
              <a:rPr lang="da-DK" dirty="0"/>
              <a:t>ædagogmedhjælpere</a:t>
            </a:r>
          </a:p>
          <a:p>
            <a:r>
              <a:rPr lang="da-DK" dirty="0"/>
              <a:t>Pædagogiske assistenter</a:t>
            </a:r>
          </a:p>
          <a:p>
            <a:r>
              <a:rPr lang="da-DK" dirty="0"/>
              <a:t>Andre erhvervsuddannelser</a:t>
            </a:r>
          </a:p>
          <a:p>
            <a:endParaRPr lang="da-DK" dirty="0"/>
          </a:p>
          <a:p>
            <a:r>
              <a:rPr lang="da-DK" u="sng" dirty="0"/>
              <a:t>Deltagerbetaling:</a:t>
            </a:r>
          </a:p>
          <a:p>
            <a:r>
              <a:rPr lang="da-DK" dirty="0"/>
              <a:t>Pædagog</a:t>
            </a:r>
          </a:p>
          <a:p>
            <a:r>
              <a:rPr lang="da-DK" dirty="0"/>
              <a:t>Andre professions BA</a:t>
            </a:r>
          </a:p>
          <a:p>
            <a:r>
              <a:rPr lang="da-DK" dirty="0"/>
              <a:t>Kandidat</a:t>
            </a:r>
          </a:p>
          <a:p>
            <a:r>
              <a:rPr lang="da-DK" dirty="0"/>
              <a:t>Plus andre højere </a:t>
            </a:r>
            <a:r>
              <a:rPr lang="da-DK" dirty="0" err="1"/>
              <a:t>udannelser</a:t>
            </a:r>
            <a:endParaRPr lang="da-DK" dirty="0"/>
          </a:p>
          <a:p>
            <a:endParaRPr lang="da-DK" dirty="0"/>
          </a:p>
          <a:p>
            <a:endParaRPr lang="da-DK" dirty="0"/>
          </a:p>
          <a:p>
            <a:endParaRPr lang="da-DK" dirty="0"/>
          </a:p>
        </p:txBody>
      </p:sp>
      <p:sp>
        <p:nvSpPr>
          <p:cNvPr id="4" name="Pladsholder til tekst 3">
            <a:extLst>
              <a:ext uri="{FF2B5EF4-FFF2-40B4-BE49-F238E27FC236}">
                <a16:creationId xmlns:a16="http://schemas.microsoft.com/office/drawing/2014/main" id="{D8919F18-7A22-5302-B410-E19D3A29BB8A}"/>
              </a:ext>
            </a:extLst>
          </p:cNvPr>
          <p:cNvSpPr>
            <a:spLocks noGrp="1"/>
          </p:cNvSpPr>
          <p:nvPr>
            <p:ph type="body" sz="half" idx="2"/>
          </p:nvPr>
        </p:nvSpPr>
        <p:spPr/>
        <p:txBody>
          <a:bodyPr/>
          <a:lstStyle/>
          <a:p>
            <a:r>
              <a:rPr lang="da-DK" dirty="0"/>
              <a:t>Arbejdsmarkeds uddannelser </a:t>
            </a:r>
          </a:p>
          <a:p>
            <a:r>
              <a:rPr lang="da-DK" dirty="0"/>
              <a:t>Efteruddannelse til faglærte og ufaglærte </a:t>
            </a:r>
          </a:p>
          <a:p>
            <a:r>
              <a:rPr lang="da-DK" dirty="0"/>
              <a:t>Udbydes af SUSO H på det pædagogiske område</a:t>
            </a:r>
          </a:p>
          <a:p>
            <a:r>
              <a:rPr lang="da-DK" dirty="0"/>
              <a:t>Men AMU kurser er alt muligt!</a:t>
            </a:r>
          </a:p>
        </p:txBody>
      </p:sp>
    </p:spTree>
    <p:extLst>
      <p:ext uri="{BB962C8B-B14F-4D97-AF65-F5344CB8AC3E}">
        <p14:creationId xmlns:p14="http://schemas.microsoft.com/office/powerpoint/2010/main" val="12212965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7409E7-EAC5-7C1E-7644-21A4D0A992D7}"/>
              </a:ext>
            </a:extLst>
          </p:cNvPr>
          <p:cNvSpPr>
            <a:spLocks noGrp="1"/>
          </p:cNvSpPr>
          <p:nvPr>
            <p:ph type="title"/>
          </p:nvPr>
        </p:nvSpPr>
        <p:spPr>
          <a:xfrm>
            <a:off x="1154954" y="448904"/>
            <a:ext cx="5092906" cy="1574808"/>
          </a:xfrm>
        </p:spPr>
        <p:txBody>
          <a:bodyPr/>
          <a:lstStyle/>
          <a:p>
            <a:r>
              <a:rPr lang="da-DK" i="1" dirty="0">
                <a:solidFill>
                  <a:schemeClr val="bg2">
                    <a:lumMod val="40000"/>
                    <a:lumOff val="60000"/>
                  </a:schemeClr>
                </a:solidFill>
              </a:rPr>
              <a:t>Ramme</a:t>
            </a:r>
          </a:p>
        </p:txBody>
      </p:sp>
      <p:sp>
        <p:nvSpPr>
          <p:cNvPr id="3" name="Pladsholder til billede 2">
            <a:extLst>
              <a:ext uri="{FF2B5EF4-FFF2-40B4-BE49-F238E27FC236}">
                <a16:creationId xmlns:a16="http://schemas.microsoft.com/office/drawing/2014/main" id="{24745A8B-B4A0-707B-7815-7A980A245BD5}"/>
              </a:ext>
            </a:extLst>
          </p:cNvPr>
          <p:cNvSpPr>
            <a:spLocks noGrp="1"/>
          </p:cNvSpPr>
          <p:nvPr>
            <p:ph type="pic" idx="1"/>
          </p:nvPr>
        </p:nvSpPr>
        <p:spPr/>
        <p:txBody>
          <a:bodyPr/>
          <a:lstStyle/>
          <a:p>
            <a:r>
              <a:rPr lang="da-DK" dirty="0"/>
              <a:t>AMU kurser er forhåndsgodkendt i:</a:t>
            </a:r>
          </a:p>
          <a:p>
            <a:r>
              <a:rPr lang="da-DK" dirty="0"/>
              <a:t> </a:t>
            </a:r>
            <a:r>
              <a:rPr lang="da-DK" dirty="0" err="1"/>
              <a:t>FOAs</a:t>
            </a:r>
            <a:r>
              <a:rPr lang="da-DK" dirty="0"/>
              <a:t> Kompetencefond</a:t>
            </a:r>
          </a:p>
          <a:p>
            <a:r>
              <a:rPr lang="da-DK" dirty="0"/>
              <a:t>Her dækkes 80 procent af deltager betaling (rest arbejdsgiver)</a:t>
            </a:r>
          </a:p>
          <a:p>
            <a:r>
              <a:rPr lang="da-DK" dirty="0"/>
              <a:t>plus</a:t>
            </a:r>
          </a:p>
          <a:p>
            <a:r>
              <a:rPr lang="da-DK" dirty="0"/>
              <a:t>Tilskud til transport </a:t>
            </a:r>
          </a:p>
          <a:p>
            <a:endParaRPr lang="da-DK" dirty="0"/>
          </a:p>
          <a:p>
            <a:r>
              <a:rPr lang="da-DK" u="sng" dirty="0"/>
              <a:t>Ufaglært og faglært:</a:t>
            </a:r>
          </a:p>
          <a:p>
            <a:r>
              <a:rPr lang="da-DK" dirty="0"/>
              <a:t>Der udbetales penge til arbejdspladsen til vikar</a:t>
            </a:r>
          </a:p>
        </p:txBody>
      </p:sp>
      <p:sp>
        <p:nvSpPr>
          <p:cNvPr id="4" name="Pladsholder til tekst 3">
            <a:extLst>
              <a:ext uri="{FF2B5EF4-FFF2-40B4-BE49-F238E27FC236}">
                <a16:creationId xmlns:a16="http://schemas.microsoft.com/office/drawing/2014/main" id="{54169731-89D9-A6C7-2D87-35BABE2286B6}"/>
              </a:ext>
            </a:extLst>
          </p:cNvPr>
          <p:cNvSpPr>
            <a:spLocks noGrp="1"/>
          </p:cNvSpPr>
          <p:nvPr>
            <p:ph type="body" sz="half" idx="2"/>
          </p:nvPr>
        </p:nvSpPr>
        <p:spPr>
          <a:xfrm>
            <a:off x="1162881" y="2743200"/>
            <a:ext cx="5084979" cy="1371600"/>
          </a:xfrm>
        </p:spPr>
        <p:txBody>
          <a:bodyPr/>
          <a:lstStyle/>
          <a:p>
            <a:r>
              <a:rPr lang="da-DK" dirty="0"/>
              <a:t>Det er ikke din ansættelse, men din </a:t>
            </a:r>
            <a:r>
              <a:rPr lang="da-DK" dirty="0" err="1"/>
              <a:t>udannelsesgrad</a:t>
            </a:r>
            <a:r>
              <a:rPr lang="da-DK" dirty="0"/>
              <a:t>, der er afgørende</a:t>
            </a:r>
          </a:p>
          <a:p>
            <a:r>
              <a:rPr lang="da-DK" dirty="0"/>
              <a:t>EKS: en pædagogmedhjælper, der har en kandidat i teologi, tæller som en med kandidatgrad – selvom vedkommende ikke ”bruger den”. </a:t>
            </a:r>
          </a:p>
        </p:txBody>
      </p:sp>
      <p:pic>
        <p:nvPicPr>
          <p:cNvPr id="5" name="Billede 4" descr="Et billede, der indeholder tekst, plakat, grafisk design, Grafik&#10;&#10;Automatisk genereret beskrivelse">
            <a:extLst>
              <a:ext uri="{FF2B5EF4-FFF2-40B4-BE49-F238E27FC236}">
                <a16:creationId xmlns:a16="http://schemas.microsoft.com/office/drawing/2014/main" id="{21B2F31B-5925-D413-96D2-511C0EFAA967}"/>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45943" y="4713514"/>
            <a:ext cx="1858802" cy="2144486"/>
          </a:xfrm>
          <a:prstGeom prst="rect">
            <a:avLst/>
          </a:prstGeom>
        </p:spPr>
      </p:pic>
    </p:spTree>
    <p:extLst>
      <p:ext uri="{BB962C8B-B14F-4D97-AF65-F5344CB8AC3E}">
        <p14:creationId xmlns:p14="http://schemas.microsoft.com/office/powerpoint/2010/main" val="2122130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63F1B3-70F4-6BEE-D692-3D8F22F78BDA}"/>
              </a:ext>
            </a:extLst>
          </p:cNvPr>
          <p:cNvSpPr>
            <a:spLocks noGrp="1"/>
          </p:cNvSpPr>
          <p:nvPr>
            <p:ph type="title"/>
          </p:nvPr>
        </p:nvSpPr>
        <p:spPr/>
        <p:txBody>
          <a:bodyPr/>
          <a:lstStyle/>
          <a:p>
            <a:r>
              <a:rPr lang="da-DK" dirty="0"/>
              <a:t>Indhold – eksempler fra det pædagogiske område </a:t>
            </a:r>
          </a:p>
        </p:txBody>
      </p:sp>
      <p:sp>
        <p:nvSpPr>
          <p:cNvPr id="3" name="Pladsholder til indhold 2">
            <a:extLst>
              <a:ext uri="{FF2B5EF4-FFF2-40B4-BE49-F238E27FC236}">
                <a16:creationId xmlns:a16="http://schemas.microsoft.com/office/drawing/2014/main" id="{6AEF81B5-F89E-3E03-F953-9FFF4AD4A3D5}"/>
              </a:ext>
            </a:extLst>
          </p:cNvPr>
          <p:cNvSpPr>
            <a:spLocks noGrp="1"/>
          </p:cNvSpPr>
          <p:nvPr>
            <p:ph idx="1"/>
          </p:nvPr>
        </p:nvSpPr>
        <p:spPr/>
        <p:txBody>
          <a:bodyPr/>
          <a:lstStyle/>
          <a:p>
            <a:r>
              <a:rPr lang="da-DK" dirty="0"/>
              <a:t>Pædagogmedhjælpere i dagtilbud </a:t>
            </a:r>
          </a:p>
          <a:p>
            <a:r>
              <a:rPr lang="da-DK" dirty="0"/>
              <a:t>Neupædagogik</a:t>
            </a:r>
          </a:p>
          <a:p>
            <a:r>
              <a:rPr lang="da-DK" dirty="0"/>
              <a:t>Low </a:t>
            </a:r>
            <a:r>
              <a:rPr lang="da-DK" dirty="0" err="1"/>
              <a:t>arrowsal</a:t>
            </a:r>
            <a:r>
              <a:rPr lang="da-DK" dirty="0"/>
              <a:t> </a:t>
            </a:r>
          </a:p>
          <a:p>
            <a:r>
              <a:rPr lang="da-DK" dirty="0"/>
              <a:t>Oplæringsvejleder</a:t>
            </a:r>
          </a:p>
          <a:p>
            <a:r>
              <a:rPr lang="da-DK" dirty="0"/>
              <a:t>Teater og drama i pædagogisk arbejde</a:t>
            </a:r>
          </a:p>
          <a:p>
            <a:r>
              <a:rPr lang="da-DK" dirty="0"/>
              <a:t>Børn i udsatte positioner</a:t>
            </a:r>
          </a:p>
          <a:p>
            <a:r>
              <a:rPr lang="da-DK" dirty="0"/>
              <a:t>Børn, natur og udeliv </a:t>
            </a:r>
          </a:p>
          <a:p>
            <a:r>
              <a:rPr lang="da-DK" dirty="0"/>
              <a:t>Plus alt muligt andet </a:t>
            </a:r>
          </a:p>
        </p:txBody>
      </p:sp>
    </p:spTree>
    <p:extLst>
      <p:ext uri="{BB962C8B-B14F-4D97-AF65-F5344CB8AC3E}">
        <p14:creationId xmlns:p14="http://schemas.microsoft.com/office/powerpoint/2010/main" val="11695111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5305CA-E978-B1D7-A20E-8E9EE9A1254C}"/>
              </a:ext>
            </a:extLst>
          </p:cNvPr>
          <p:cNvSpPr>
            <a:spLocks noGrp="1"/>
          </p:cNvSpPr>
          <p:nvPr>
            <p:ph type="title"/>
          </p:nvPr>
        </p:nvSpPr>
        <p:spPr/>
        <p:txBody>
          <a:bodyPr/>
          <a:lstStyle/>
          <a:p>
            <a:r>
              <a:rPr lang="da-DK" dirty="0"/>
              <a:t>AMU i LFS 2025</a:t>
            </a:r>
          </a:p>
        </p:txBody>
      </p:sp>
      <p:sp>
        <p:nvSpPr>
          <p:cNvPr id="3" name="Pladsholder til tekst 2">
            <a:extLst>
              <a:ext uri="{FF2B5EF4-FFF2-40B4-BE49-F238E27FC236}">
                <a16:creationId xmlns:a16="http://schemas.microsoft.com/office/drawing/2014/main" id="{12C6064B-E4CE-12F6-E716-95D496050831}"/>
              </a:ext>
            </a:extLst>
          </p:cNvPr>
          <p:cNvSpPr>
            <a:spLocks noGrp="1"/>
          </p:cNvSpPr>
          <p:nvPr>
            <p:ph type="body" idx="1"/>
          </p:nvPr>
        </p:nvSpPr>
        <p:spPr/>
        <p:txBody>
          <a:bodyPr/>
          <a:lstStyle/>
          <a:p>
            <a:r>
              <a:rPr lang="da-DK" dirty="0"/>
              <a:t>Forår 2025</a:t>
            </a:r>
          </a:p>
        </p:txBody>
      </p:sp>
      <p:sp>
        <p:nvSpPr>
          <p:cNvPr id="4" name="Pladsholder til tekst 3">
            <a:extLst>
              <a:ext uri="{FF2B5EF4-FFF2-40B4-BE49-F238E27FC236}">
                <a16:creationId xmlns:a16="http://schemas.microsoft.com/office/drawing/2014/main" id="{4A9AAC52-045D-86BF-CAF3-06D7AE39F62A}"/>
              </a:ext>
            </a:extLst>
          </p:cNvPr>
          <p:cNvSpPr>
            <a:spLocks noGrp="1"/>
          </p:cNvSpPr>
          <p:nvPr>
            <p:ph type="body" sz="half" idx="15"/>
          </p:nvPr>
        </p:nvSpPr>
        <p:spPr/>
        <p:txBody>
          <a:bodyPr/>
          <a:lstStyle/>
          <a:p>
            <a:r>
              <a:rPr lang="da-DK" sz="1800" b="1" i="0" u="none" strike="noStrike" baseline="0" dirty="0">
                <a:solidFill>
                  <a:schemeClr val="bg2">
                    <a:lumMod val="40000"/>
                    <a:lumOff val="60000"/>
                  </a:schemeClr>
                </a:solidFill>
                <a:latin typeface="Roboto" panose="02000000000000000000" pitchFamily="2" charset="0"/>
              </a:rPr>
              <a:t>Arbejdet med lavaffektive metoder – Low </a:t>
            </a:r>
            <a:r>
              <a:rPr lang="da-DK" sz="1800" b="1" i="0" u="none" strike="noStrike" baseline="0" dirty="0" err="1">
                <a:solidFill>
                  <a:schemeClr val="bg2">
                    <a:lumMod val="40000"/>
                    <a:lumOff val="60000"/>
                  </a:schemeClr>
                </a:solidFill>
                <a:latin typeface="Roboto" panose="02000000000000000000" pitchFamily="2" charset="0"/>
              </a:rPr>
              <a:t>arousel</a:t>
            </a:r>
            <a:r>
              <a:rPr lang="da-DK" sz="1800" b="1" i="0" u="none" strike="noStrike" baseline="0" dirty="0">
                <a:solidFill>
                  <a:schemeClr val="bg2">
                    <a:lumMod val="40000"/>
                    <a:lumOff val="60000"/>
                  </a:schemeClr>
                </a:solidFill>
                <a:latin typeface="Roboto" panose="02000000000000000000" pitchFamily="2" charset="0"/>
              </a:rPr>
              <a:t>; 2 dage </a:t>
            </a:r>
          </a:p>
          <a:p>
            <a:pPr algn="l"/>
            <a:endParaRPr lang="da-DK" sz="1800" b="0" i="0" u="none" strike="noStrike" baseline="0" dirty="0">
              <a:solidFill>
                <a:schemeClr val="bg2">
                  <a:lumMod val="40000"/>
                  <a:lumOff val="60000"/>
                </a:schemeClr>
              </a:solidFill>
              <a:latin typeface="Roboto" panose="02000000000000000000" pitchFamily="2" charset="0"/>
            </a:endParaRPr>
          </a:p>
          <a:p>
            <a:r>
              <a:rPr lang="da-DK" sz="1800" b="0" i="0" u="none" strike="noStrike" baseline="0" dirty="0">
                <a:solidFill>
                  <a:schemeClr val="bg2">
                    <a:lumMod val="40000"/>
                    <a:lumOff val="60000"/>
                  </a:schemeClr>
                </a:solidFill>
                <a:latin typeface="Roboto" panose="02000000000000000000" pitchFamily="2" charset="0"/>
              </a:rPr>
              <a:t> </a:t>
            </a:r>
            <a:r>
              <a:rPr lang="da-DK" sz="1800" b="1" i="0" u="none" strike="noStrike" baseline="0" dirty="0" err="1">
                <a:solidFill>
                  <a:schemeClr val="bg2">
                    <a:lumMod val="40000"/>
                    <a:lumOff val="60000"/>
                  </a:schemeClr>
                </a:solidFill>
                <a:latin typeface="Roboto" panose="02000000000000000000" pitchFamily="2" charset="0"/>
              </a:rPr>
              <a:t>Neuropædagogik</a:t>
            </a:r>
            <a:r>
              <a:rPr lang="da-DK" sz="1800" b="1" i="0" u="none" strike="noStrike" baseline="0" dirty="0">
                <a:solidFill>
                  <a:schemeClr val="bg2">
                    <a:lumMod val="40000"/>
                    <a:lumOff val="60000"/>
                  </a:schemeClr>
                </a:solidFill>
                <a:latin typeface="Roboto" panose="02000000000000000000" pitchFamily="2" charset="0"/>
              </a:rPr>
              <a:t> som redskab i pædagogisk arbejde; 3 dage </a:t>
            </a:r>
            <a:endParaRPr lang="da-DK" dirty="0">
              <a:solidFill>
                <a:schemeClr val="bg2">
                  <a:lumMod val="40000"/>
                  <a:lumOff val="60000"/>
                </a:schemeClr>
              </a:solidFill>
            </a:endParaRPr>
          </a:p>
        </p:txBody>
      </p:sp>
      <p:sp>
        <p:nvSpPr>
          <p:cNvPr id="5" name="Pladsholder til tekst 4">
            <a:extLst>
              <a:ext uri="{FF2B5EF4-FFF2-40B4-BE49-F238E27FC236}">
                <a16:creationId xmlns:a16="http://schemas.microsoft.com/office/drawing/2014/main" id="{47F9BAB7-8300-76A6-030E-4A686E01FFB6}"/>
              </a:ext>
            </a:extLst>
          </p:cNvPr>
          <p:cNvSpPr>
            <a:spLocks noGrp="1"/>
          </p:cNvSpPr>
          <p:nvPr>
            <p:ph type="body" sz="quarter" idx="3"/>
          </p:nvPr>
        </p:nvSpPr>
        <p:spPr/>
        <p:txBody>
          <a:bodyPr/>
          <a:lstStyle/>
          <a:p>
            <a:r>
              <a:rPr lang="da-DK" dirty="0"/>
              <a:t>Forår 2025</a:t>
            </a:r>
          </a:p>
        </p:txBody>
      </p:sp>
      <p:sp>
        <p:nvSpPr>
          <p:cNvPr id="6" name="Pladsholder til tekst 5">
            <a:extLst>
              <a:ext uri="{FF2B5EF4-FFF2-40B4-BE49-F238E27FC236}">
                <a16:creationId xmlns:a16="http://schemas.microsoft.com/office/drawing/2014/main" id="{FD970811-5439-9996-160C-1BE9DEC4B68F}"/>
              </a:ext>
            </a:extLst>
          </p:cNvPr>
          <p:cNvSpPr>
            <a:spLocks noGrp="1"/>
          </p:cNvSpPr>
          <p:nvPr>
            <p:ph type="body" sz="half" idx="16"/>
          </p:nvPr>
        </p:nvSpPr>
        <p:spPr/>
        <p:txBody>
          <a:bodyPr/>
          <a:lstStyle/>
          <a:p>
            <a:r>
              <a:rPr lang="da-DK" sz="1800" b="1" i="0" u="none" strike="noStrike" baseline="0" dirty="0">
                <a:solidFill>
                  <a:schemeClr val="bg2">
                    <a:lumMod val="40000"/>
                    <a:lumOff val="60000"/>
                  </a:schemeClr>
                </a:solidFill>
                <a:latin typeface="Roboto" panose="02000000000000000000" pitchFamily="2" charset="0"/>
              </a:rPr>
              <a:t>Inklusion af børn med socialkognitive vanskeligheder; 5 dage </a:t>
            </a:r>
          </a:p>
          <a:p>
            <a:endParaRPr lang="da-DK" sz="1800" b="1" dirty="0">
              <a:solidFill>
                <a:schemeClr val="bg2">
                  <a:lumMod val="40000"/>
                  <a:lumOff val="60000"/>
                </a:schemeClr>
              </a:solidFill>
              <a:latin typeface="Roboto" panose="02000000000000000000" pitchFamily="2" charset="0"/>
            </a:endParaRPr>
          </a:p>
          <a:p>
            <a:r>
              <a:rPr lang="da-DK" sz="1800" b="1" i="0" u="none" strike="noStrike" baseline="0" dirty="0">
                <a:solidFill>
                  <a:schemeClr val="bg2">
                    <a:lumMod val="40000"/>
                    <a:lumOff val="60000"/>
                  </a:schemeClr>
                </a:solidFill>
                <a:latin typeface="Roboto" panose="02000000000000000000" pitchFamily="2" charset="0"/>
              </a:rPr>
              <a:t>Ressourcefokuseret tilgang til arbejdet med børn i udsatte positioner; 7 dage </a:t>
            </a:r>
            <a:endParaRPr lang="da-DK" dirty="0">
              <a:solidFill>
                <a:schemeClr val="bg2">
                  <a:lumMod val="40000"/>
                  <a:lumOff val="60000"/>
                </a:schemeClr>
              </a:solidFill>
            </a:endParaRPr>
          </a:p>
        </p:txBody>
      </p:sp>
      <p:sp>
        <p:nvSpPr>
          <p:cNvPr id="7" name="Pladsholder til tekst 6">
            <a:extLst>
              <a:ext uri="{FF2B5EF4-FFF2-40B4-BE49-F238E27FC236}">
                <a16:creationId xmlns:a16="http://schemas.microsoft.com/office/drawing/2014/main" id="{67461FBB-C164-7BA3-5766-51331894A08C}"/>
              </a:ext>
            </a:extLst>
          </p:cNvPr>
          <p:cNvSpPr>
            <a:spLocks noGrp="1"/>
          </p:cNvSpPr>
          <p:nvPr>
            <p:ph type="body" sz="quarter" idx="13"/>
          </p:nvPr>
        </p:nvSpPr>
        <p:spPr/>
        <p:txBody>
          <a:bodyPr/>
          <a:lstStyle/>
          <a:p>
            <a:r>
              <a:rPr lang="da-DK" dirty="0"/>
              <a:t>Efterår 2025</a:t>
            </a:r>
          </a:p>
        </p:txBody>
      </p:sp>
      <p:sp>
        <p:nvSpPr>
          <p:cNvPr id="8" name="Pladsholder til tekst 7">
            <a:extLst>
              <a:ext uri="{FF2B5EF4-FFF2-40B4-BE49-F238E27FC236}">
                <a16:creationId xmlns:a16="http://schemas.microsoft.com/office/drawing/2014/main" id="{EB288EF6-82E2-0931-B1BB-2EE9015B6A4F}"/>
              </a:ext>
            </a:extLst>
          </p:cNvPr>
          <p:cNvSpPr>
            <a:spLocks noGrp="1"/>
          </p:cNvSpPr>
          <p:nvPr>
            <p:ph type="body" sz="half" idx="17"/>
          </p:nvPr>
        </p:nvSpPr>
        <p:spPr/>
        <p:txBody>
          <a:bodyPr/>
          <a:lstStyle/>
          <a:p>
            <a:r>
              <a:rPr lang="da-DK" sz="1800" b="1" i="1" u="none" strike="noStrike" baseline="0" dirty="0">
                <a:solidFill>
                  <a:schemeClr val="bg2">
                    <a:lumMod val="40000"/>
                    <a:lumOff val="60000"/>
                  </a:schemeClr>
                </a:solidFill>
                <a:latin typeface="Roboto" panose="02000000000000000000" pitchFamily="2" charset="0"/>
              </a:rPr>
              <a:t>Formodentlig:</a:t>
            </a:r>
          </a:p>
          <a:p>
            <a:endParaRPr lang="da-DK" sz="1800" b="1" dirty="0">
              <a:solidFill>
                <a:schemeClr val="bg2">
                  <a:lumMod val="40000"/>
                  <a:lumOff val="60000"/>
                </a:schemeClr>
              </a:solidFill>
              <a:latin typeface="Roboto" panose="02000000000000000000" pitchFamily="2" charset="0"/>
            </a:endParaRPr>
          </a:p>
          <a:p>
            <a:r>
              <a:rPr lang="da-DK" sz="1800" b="1" i="0" u="none" strike="noStrike" baseline="0" dirty="0">
                <a:solidFill>
                  <a:schemeClr val="bg2">
                    <a:lumMod val="40000"/>
                    <a:lumOff val="60000"/>
                  </a:schemeClr>
                </a:solidFill>
                <a:latin typeface="Roboto" panose="02000000000000000000" pitchFamily="2" charset="0"/>
              </a:rPr>
              <a:t>Pædagogmedhjælper i dagtilbud; 15 dage </a:t>
            </a:r>
          </a:p>
          <a:p>
            <a:endParaRPr lang="da-DK" sz="1800" b="1" dirty="0">
              <a:solidFill>
                <a:srgbClr val="000000"/>
              </a:solidFill>
              <a:latin typeface="Roboto" panose="02000000000000000000" pitchFamily="2" charset="0"/>
            </a:endParaRPr>
          </a:p>
          <a:p>
            <a:endParaRPr lang="da-DK" dirty="0"/>
          </a:p>
        </p:txBody>
      </p:sp>
    </p:spTree>
    <p:extLst>
      <p:ext uri="{BB962C8B-B14F-4D97-AF65-F5344CB8AC3E}">
        <p14:creationId xmlns:p14="http://schemas.microsoft.com/office/powerpoint/2010/main" val="9807647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A3DF8B7-5057-417D-A865-5EA4F4E81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6273" y="2329593"/>
            <a:ext cx="2307822" cy="43942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Billede 6" descr="Et billede, der indeholder tekst&#10;&#10;Automatisk genereret beskrivelse">
            <a:extLst>
              <a:ext uri="{FF2B5EF4-FFF2-40B4-BE49-F238E27FC236}">
                <a16:creationId xmlns:a16="http://schemas.microsoft.com/office/drawing/2014/main" id="{D0742618-3093-49C3-B637-1418C1AA2D36}"/>
              </a:ext>
            </a:extLst>
          </p:cNvPr>
          <p:cNvPicPr>
            <a:picLocks noChangeAspect="1"/>
          </p:cNvPicPr>
          <p:nvPr/>
        </p:nvPicPr>
        <p:blipFill rotWithShape="1">
          <a:blip r:embed="rId3">
            <a:extLst>
              <a:ext uri="{28A0092B-C50C-407E-A947-70E740481C1C}">
                <a14:useLocalDpi xmlns:a14="http://schemas.microsoft.com/office/drawing/2010/main" val="0"/>
              </a:ext>
            </a:extLst>
          </a:blip>
          <a:srcRect t="-610" r="-2" b="-2"/>
          <a:stretch/>
        </p:blipFill>
        <p:spPr>
          <a:xfrm>
            <a:off x="3142843" y="2322569"/>
            <a:ext cx="2023243" cy="4401265"/>
          </a:xfrm>
          <a:prstGeom prst="rect">
            <a:avLst/>
          </a:prstGeom>
          <a:ln>
            <a:solidFill>
              <a:schemeClr val="bg1"/>
            </a:solidFill>
          </a:ln>
        </p:spPr>
      </p:pic>
      <p:sp>
        <p:nvSpPr>
          <p:cNvPr id="10" name="Tekstfelt 9">
            <a:extLst>
              <a:ext uri="{FF2B5EF4-FFF2-40B4-BE49-F238E27FC236}">
                <a16:creationId xmlns:a16="http://schemas.microsoft.com/office/drawing/2014/main" id="{CCEC6648-4917-4472-85E1-C71F5290319E}"/>
              </a:ext>
            </a:extLst>
          </p:cNvPr>
          <p:cNvSpPr txBox="1"/>
          <p:nvPr/>
        </p:nvSpPr>
        <p:spPr>
          <a:xfrm>
            <a:off x="2538839" y="-46182"/>
            <a:ext cx="7098631" cy="707886"/>
          </a:xfrm>
          <a:prstGeom prst="rect">
            <a:avLst/>
          </a:prstGeom>
          <a:noFill/>
        </p:spPr>
        <p:txBody>
          <a:bodyPr wrap="square" rtlCol="0">
            <a:spAutoFit/>
          </a:bodyPr>
          <a:lstStyle/>
          <a:p>
            <a:r>
              <a:rPr lang="da-DK" sz="4000" dirty="0">
                <a:solidFill>
                  <a:srgbClr val="FFFF00"/>
                </a:solidFill>
                <a:highlight>
                  <a:srgbClr val="000000"/>
                </a:highlight>
              </a:rPr>
              <a:t>Sådan tjekker du ind til TR-mødet</a:t>
            </a:r>
          </a:p>
        </p:txBody>
      </p:sp>
      <p:sp>
        <p:nvSpPr>
          <p:cNvPr id="11" name="Tekstfelt 10">
            <a:extLst>
              <a:ext uri="{FF2B5EF4-FFF2-40B4-BE49-F238E27FC236}">
                <a16:creationId xmlns:a16="http://schemas.microsoft.com/office/drawing/2014/main" id="{0EDA8F05-B26A-4686-94A4-5537B7870541}"/>
              </a:ext>
            </a:extLst>
          </p:cNvPr>
          <p:cNvSpPr txBox="1"/>
          <p:nvPr/>
        </p:nvSpPr>
        <p:spPr>
          <a:xfrm>
            <a:off x="145884" y="659001"/>
            <a:ext cx="2493300" cy="1569660"/>
          </a:xfrm>
          <a:prstGeom prst="rect">
            <a:avLst/>
          </a:prstGeom>
          <a:noFill/>
        </p:spPr>
        <p:txBody>
          <a:bodyPr wrap="square" rtlCol="0">
            <a:spAutoFit/>
          </a:bodyPr>
          <a:lstStyle/>
          <a:p>
            <a:pPr algn="ctr"/>
            <a:r>
              <a:rPr lang="da-DK" sz="2400" dirty="0">
                <a:solidFill>
                  <a:srgbClr val="FFFF00"/>
                </a:solidFill>
                <a:highlight>
                  <a:srgbClr val="000000"/>
                </a:highlight>
              </a:rPr>
              <a:t>1. Åben kamera/ QR-appen, skan koden og tryk på </a:t>
            </a:r>
            <a:r>
              <a:rPr lang="da-DK" sz="2400" dirty="0" err="1">
                <a:solidFill>
                  <a:srgbClr val="FFFF00"/>
                </a:solidFill>
                <a:highlight>
                  <a:srgbClr val="000000"/>
                </a:highlight>
              </a:rPr>
              <a:t>popup</a:t>
            </a:r>
            <a:r>
              <a:rPr lang="da-DK" sz="2400" dirty="0">
                <a:solidFill>
                  <a:srgbClr val="FFFF00"/>
                </a:solidFill>
                <a:highlight>
                  <a:srgbClr val="000000"/>
                </a:highlight>
              </a:rPr>
              <a:t>-vinduet</a:t>
            </a:r>
          </a:p>
        </p:txBody>
      </p:sp>
      <p:sp>
        <p:nvSpPr>
          <p:cNvPr id="19" name="Pil: nedad 18">
            <a:extLst>
              <a:ext uri="{FF2B5EF4-FFF2-40B4-BE49-F238E27FC236}">
                <a16:creationId xmlns:a16="http://schemas.microsoft.com/office/drawing/2014/main" id="{4A43F9DA-396B-402A-8006-22D1386D0634}"/>
              </a:ext>
            </a:extLst>
          </p:cNvPr>
          <p:cNvSpPr/>
          <p:nvPr/>
        </p:nvSpPr>
        <p:spPr>
          <a:xfrm>
            <a:off x="3786857" y="4383061"/>
            <a:ext cx="159602" cy="990721"/>
          </a:xfrm>
          <a:prstGeom prst="downArrow">
            <a:avLst/>
          </a:prstGeom>
          <a:solidFill>
            <a:srgbClr val="FF00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Tekstfelt 23">
            <a:extLst>
              <a:ext uri="{FF2B5EF4-FFF2-40B4-BE49-F238E27FC236}">
                <a16:creationId xmlns:a16="http://schemas.microsoft.com/office/drawing/2014/main" id="{E6E1581E-FFD1-44CF-9EBD-67AF2E316234}"/>
              </a:ext>
            </a:extLst>
          </p:cNvPr>
          <p:cNvSpPr txBox="1"/>
          <p:nvPr/>
        </p:nvSpPr>
        <p:spPr>
          <a:xfrm>
            <a:off x="3007578" y="659001"/>
            <a:ext cx="2283937" cy="1200329"/>
          </a:xfrm>
          <a:prstGeom prst="rect">
            <a:avLst/>
          </a:prstGeom>
          <a:noFill/>
        </p:spPr>
        <p:txBody>
          <a:bodyPr wrap="square" rtlCol="0">
            <a:spAutoFit/>
          </a:bodyPr>
          <a:lstStyle/>
          <a:p>
            <a:pPr algn="ctr"/>
            <a:r>
              <a:rPr lang="da-DK" sz="2400" dirty="0">
                <a:solidFill>
                  <a:srgbClr val="FFFF00"/>
                </a:solidFill>
                <a:highlight>
                  <a:srgbClr val="000000"/>
                </a:highlight>
              </a:rPr>
              <a:t>2. </a:t>
            </a:r>
            <a:r>
              <a:rPr lang="da-DK" sz="2400" dirty="0" err="1">
                <a:solidFill>
                  <a:srgbClr val="FFFF00"/>
                </a:solidFill>
                <a:highlight>
                  <a:srgbClr val="000000"/>
                </a:highlight>
              </a:rPr>
              <a:t>Scroll</a:t>
            </a:r>
            <a:r>
              <a:rPr lang="da-DK" sz="2400" dirty="0">
                <a:solidFill>
                  <a:srgbClr val="FFFF00"/>
                </a:solidFill>
                <a:highlight>
                  <a:srgbClr val="000000"/>
                </a:highlight>
              </a:rPr>
              <a:t> helt ned i bunden og tryk </a:t>
            </a:r>
          </a:p>
          <a:p>
            <a:pPr algn="ctr"/>
            <a:r>
              <a:rPr lang="da-DK" sz="2400" dirty="0">
                <a:solidFill>
                  <a:srgbClr val="FFFF00"/>
                </a:solidFill>
                <a:highlight>
                  <a:srgbClr val="000000"/>
                </a:highlight>
              </a:rPr>
              <a:t>”</a:t>
            </a:r>
            <a:r>
              <a:rPr lang="da-DK" sz="2400" dirty="0">
                <a:solidFill>
                  <a:srgbClr val="00B0F0"/>
                </a:solidFill>
                <a:highlight>
                  <a:srgbClr val="000000"/>
                </a:highlight>
              </a:rPr>
              <a:t>TILMELD MIG</a:t>
            </a:r>
            <a:r>
              <a:rPr lang="da-DK" sz="2400" dirty="0">
                <a:solidFill>
                  <a:srgbClr val="FFFF00"/>
                </a:solidFill>
                <a:highlight>
                  <a:srgbClr val="000000"/>
                </a:highlight>
              </a:rPr>
              <a:t>”</a:t>
            </a:r>
          </a:p>
        </p:txBody>
      </p:sp>
      <p:sp>
        <p:nvSpPr>
          <p:cNvPr id="25" name="Ellipse 24">
            <a:extLst>
              <a:ext uri="{FF2B5EF4-FFF2-40B4-BE49-F238E27FC236}">
                <a16:creationId xmlns:a16="http://schemas.microsoft.com/office/drawing/2014/main" id="{A2FE61C6-6AEF-4245-A7B3-ADCA352045EC}"/>
              </a:ext>
            </a:extLst>
          </p:cNvPr>
          <p:cNvSpPr/>
          <p:nvPr/>
        </p:nvSpPr>
        <p:spPr>
          <a:xfrm>
            <a:off x="3237979" y="5455717"/>
            <a:ext cx="1263410" cy="6908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Tekstfelt 25">
            <a:extLst>
              <a:ext uri="{FF2B5EF4-FFF2-40B4-BE49-F238E27FC236}">
                <a16:creationId xmlns:a16="http://schemas.microsoft.com/office/drawing/2014/main" id="{CBCCEC04-3B4B-45E8-A472-AC0B61A0F4C4}"/>
              </a:ext>
            </a:extLst>
          </p:cNvPr>
          <p:cNvSpPr txBox="1"/>
          <p:nvPr/>
        </p:nvSpPr>
        <p:spPr>
          <a:xfrm>
            <a:off x="5788274" y="659001"/>
            <a:ext cx="2723820" cy="830997"/>
          </a:xfrm>
          <a:prstGeom prst="rect">
            <a:avLst/>
          </a:prstGeom>
          <a:noFill/>
        </p:spPr>
        <p:txBody>
          <a:bodyPr wrap="square" rtlCol="0">
            <a:spAutoFit/>
          </a:bodyPr>
          <a:lstStyle/>
          <a:p>
            <a:pPr algn="ctr"/>
            <a:r>
              <a:rPr lang="da-DK" sz="2400" dirty="0">
                <a:solidFill>
                  <a:srgbClr val="FFFF00"/>
                </a:solidFill>
                <a:highlight>
                  <a:srgbClr val="000000"/>
                </a:highlight>
              </a:rPr>
              <a:t>3. Udfyld </a:t>
            </a:r>
            <a:r>
              <a:rPr lang="da-DK" sz="2400" dirty="0">
                <a:solidFill>
                  <a:srgbClr val="00B0F0"/>
                </a:solidFill>
                <a:highlight>
                  <a:srgbClr val="000000"/>
                </a:highlight>
              </a:rPr>
              <a:t>CPR-nummer</a:t>
            </a:r>
            <a:r>
              <a:rPr lang="da-DK" sz="2400" dirty="0">
                <a:solidFill>
                  <a:srgbClr val="FFFF00"/>
                </a:solidFill>
                <a:highlight>
                  <a:srgbClr val="000000"/>
                </a:highlight>
              </a:rPr>
              <a:t> og </a:t>
            </a:r>
            <a:r>
              <a:rPr lang="da-DK" sz="2400" dirty="0">
                <a:solidFill>
                  <a:srgbClr val="00B0F0"/>
                </a:solidFill>
                <a:highlight>
                  <a:srgbClr val="000000"/>
                </a:highlight>
              </a:rPr>
              <a:t>fornavn</a:t>
            </a:r>
          </a:p>
        </p:txBody>
      </p:sp>
      <p:sp>
        <p:nvSpPr>
          <p:cNvPr id="28" name="Tekstfelt 27">
            <a:extLst>
              <a:ext uri="{FF2B5EF4-FFF2-40B4-BE49-F238E27FC236}">
                <a16:creationId xmlns:a16="http://schemas.microsoft.com/office/drawing/2014/main" id="{25357E08-D451-41A2-9C98-D45452C45B40}"/>
              </a:ext>
            </a:extLst>
          </p:cNvPr>
          <p:cNvSpPr txBox="1"/>
          <p:nvPr/>
        </p:nvSpPr>
        <p:spPr>
          <a:xfrm>
            <a:off x="5515947" y="1454030"/>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Tryk ”</a:t>
            </a:r>
            <a:r>
              <a:rPr lang="da-DK" sz="2400" dirty="0">
                <a:solidFill>
                  <a:srgbClr val="00B0F0"/>
                </a:solidFill>
                <a:highlight>
                  <a:srgbClr val="000000"/>
                </a:highlight>
              </a:rPr>
              <a:t>SØG      </a:t>
            </a:r>
            <a:r>
              <a:rPr lang="da-DK" sz="2400" dirty="0">
                <a:solidFill>
                  <a:srgbClr val="FFFF00"/>
                </a:solidFill>
                <a:highlight>
                  <a:srgbClr val="000000"/>
                </a:highlight>
              </a:rPr>
              <a:t>”</a:t>
            </a:r>
          </a:p>
        </p:txBody>
      </p:sp>
      <p:sp>
        <p:nvSpPr>
          <p:cNvPr id="32" name="Pil: opadgående 31">
            <a:extLst>
              <a:ext uri="{FF2B5EF4-FFF2-40B4-BE49-F238E27FC236}">
                <a16:creationId xmlns:a16="http://schemas.microsoft.com/office/drawing/2014/main" id="{4E371879-76DE-4ABC-83C5-CB59EEC80C96}"/>
              </a:ext>
            </a:extLst>
          </p:cNvPr>
          <p:cNvSpPr/>
          <p:nvPr/>
        </p:nvSpPr>
        <p:spPr>
          <a:xfrm>
            <a:off x="7856585" y="5455717"/>
            <a:ext cx="189432" cy="743282"/>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Ellipse 39">
            <a:extLst>
              <a:ext uri="{FF2B5EF4-FFF2-40B4-BE49-F238E27FC236}">
                <a16:creationId xmlns:a16="http://schemas.microsoft.com/office/drawing/2014/main" id="{C7F7AAC0-3A33-4F51-B636-D3FECC187765}"/>
              </a:ext>
            </a:extLst>
          </p:cNvPr>
          <p:cNvSpPr/>
          <p:nvPr/>
        </p:nvSpPr>
        <p:spPr>
          <a:xfrm>
            <a:off x="7751207" y="5042921"/>
            <a:ext cx="400188" cy="35292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 name="Picture 2">
            <a:extLst>
              <a:ext uri="{FF2B5EF4-FFF2-40B4-BE49-F238E27FC236}">
                <a16:creationId xmlns:a16="http://schemas.microsoft.com/office/drawing/2014/main" id="{2BEC8976-2391-43D2-B25B-F6ED0045C4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277" y="2329593"/>
            <a:ext cx="2030514" cy="4394241"/>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93F90A5C-724E-4EA3-87FD-CCF7F1226F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34282" y="2322569"/>
            <a:ext cx="2285828" cy="43872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8" name="Tekstfelt 17">
            <a:extLst>
              <a:ext uri="{FF2B5EF4-FFF2-40B4-BE49-F238E27FC236}">
                <a16:creationId xmlns:a16="http://schemas.microsoft.com/office/drawing/2014/main" id="{635B5C1C-1557-455B-B231-23BFCFABCB8C}"/>
              </a:ext>
            </a:extLst>
          </p:cNvPr>
          <p:cNvSpPr txBox="1"/>
          <p:nvPr/>
        </p:nvSpPr>
        <p:spPr>
          <a:xfrm>
            <a:off x="8642959" y="1032001"/>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4. Tryk ”</a:t>
            </a:r>
            <a:r>
              <a:rPr lang="da-DK" sz="2400" dirty="0">
                <a:solidFill>
                  <a:srgbClr val="00B0F0"/>
                </a:solidFill>
                <a:highlight>
                  <a:srgbClr val="000000"/>
                </a:highlight>
              </a:rPr>
              <a:t>UDFØR</a:t>
            </a:r>
            <a:r>
              <a:rPr lang="da-DK" sz="2400" dirty="0">
                <a:solidFill>
                  <a:srgbClr val="FFFF00"/>
                </a:solidFill>
                <a:highlight>
                  <a:srgbClr val="000000"/>
                </a:highlight>
              </a:rPr>
              <a:t>”</a:t>
            </a:r>
          </a:p>
        </p:txBody>
      </p:sp>
      <p:sp>
        <p:nvSpPr>
          <p:cNvPr id="20" name="Ellipse 19">
            <a:extLst>
              <a:ext uri="{FF2B5EF4-FFF2-40B4-BE49-F238E27FC236}">
                <a16:creationId xmlns:a16="http://schemas.microsoft.com/office/drawing/2014/main" id="{A6F132FA-8006-418F-BEF7-E69F41D54462}"/>
              </a:ext>
            </a:extLst>
          </p:cNvPr>
          <p:cNvSpPr/>
          <p:nvPr/>
        </p:nvSpPr>
        <p:spPr>
          <a:xfrm>
            <a:off x="10752362" y="5946530"/>
            <a:ext cx="667748" cy="4000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Pil: opadgående 20">
            <a:extLst>
              <a:ext uri="{FF2B5EF4-FFF2-40B4-BE49-F238E27FC236}">
                <a16:creationId xmlns:a16="http://schemas.microsoft.com/office/drawing/2014/main" id="{07F171B6-3F6E-418A-8EBE-EC0691519A1B}"/>
              </a:ext>
            </a:extLst>
          </p:cNvPr>
          <p:cNvSpPr/>
          <p:nvPr/>
        </p:nvSpPr>
        <p:spPr>
          <a:xfrm rot="10800000">
            <a:off x="10987291" y="5010680"/>
            <a:ext cx="197889" cy="764537"/>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Grafik 7" descr="Forstørrelsesglas kontur">
            <a:extLst>
              <a:ext uri="{FF2B5EF4-FFF2-40B4-BE49-F238E27FC236}">
                <a16:creationId xmlns:a16="http://schemas.microsoft.com/office/drawing/2014/main" id="{A0917C46-CD44-4859-9B83-6CCF4CDFEF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3825" y="1513867"/>
            <a:ext cx="334764" cy="334764"/>
          </a:xfrm>
          <a:prstGeom prst="rect">
            <a:avLst/>
          </a:prstGeom>
        </p:spPr>
      </p:pic>
    </p:spTree>
    <p:extLst>
      <p:ext uri="{BB962C8B-B14F-4D97-AF65-F5344CB8AC3E}">
        <p14:creationId xmlns:p14="http://schemas.microsoft.com/office/powerpoint/2010/main" val="2200419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AMU Kurser</a:t>
            </a:r>
          </a:p>
          <a:p>
            <a:pPr marL="342900" lvl="0" indent="-342900">
              <a:lnSpc>
                <a:spcPct val="150000"/>
              </a:lnSpc>
              <a:buFont typeface="+mj-lt"/>
              <a:buAutoNum type="arabicPeriod"/>
            </a:pPr>
            <a:r>
              <a:rPr lang="da-DK" sz="1800" b="1" dirty="0">
                <a:effectLst/>
                <a:ea typeface="Times New Roman" panose="02020603050405020304" pitchFamily="18" charset="0"/>
              </a:rPr>
              <a:t>Budget 2025 Frederiksberg</a:t>
            </a:r>
          </a:p>
          <a:p>
            <a:pPr marL="342900" lvl="0" indent="-342900">
              <a:lnSpc>
                <a:spcPct val="150000"/>
              </a:lnSpc>
              <a:buFont typeface="+mj-lt"/>
              <a:buAutoNum type="arabicPeriod"/>
            </a:pPr>
            <a:r>
              <a:rPr lang="da-DK" sz="1800" dirty="0">
                <a:ea typeface="Times New Roman" panose="02020603050405020304" pitchFamily="18" charset="0"/>
              </a:rPr>
              <a:t>Hjemmesiden</a:t>
            </a:r>
          </a:p>
          <a:p>
            <a:pPr marL="342900" lvl="0" indent="-342900">
              <a:lnSpc>
                <a:spcPct val="150000"/>
              </a:lnSpc>
              <a:buFont typeface="+mj-lt"/>
              <a:buAutoNum type="arabicPeriod"/>
            </a:pPr>
            <a:r>
              <a:rPr lang="da-DK" sz="1800" dirty="0">
                <a:effectLst/>
                <a:ea typeface="Times New Roman" panose="02020603050405020304" pitchFamily="18" charset="0"/>
              </a:rPr>
              <a:t>Tid til at mødes med nyansatte i arbejdstiden</a:t>
            </a:r>
          </a:p>
          <a:p>
            <a:pPr marL="342900" lvl="0" indent="-342900">
              <a:lnSpc>
                <a:spcPct val="150000"/>
              </a:lnSpc>
              <a:buFont typeface="+mj-lt"/>
              <a:buAutoNum type="arabicPeriod"/>
            </a:pPr>
            <a:r>
              <a:rPr lang="da-DK" sz="1800" dirty="0">
                <a:effectLst/>
                <a:ea typeface="Times New Roman" panose="02020603050405020304" pitchFamily="18" charset="0"/>
              </a:rPr>
              <a:t>Retningslinjer om krænkende handlinger</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348949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C5BC77-1EBE-4670-B7FB-D217B9F6B8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B2C5BC77-1EBE-4670-B7FB-D217B9F6B8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dsholder til tekst 1">
            <a:extLst>
              <a:ext uri="{FF2B5EF4-FFF2-40B4-BE49-F238E27FC236}">
                <a16:creationId xmlns:a16="http://schemas.microsoft.com/office/drawing/2014/main" id="{1E020454-A870-40F2-AACA-4447510C8654}"/>
              </a:ext>
            </a:extLst>
          </p:cNvPr>
          <p:cNvSpPr>
            <a:spLocks noGrp="1"/>
          </p:cNvSpPr>
          <p:nvPr>
            <p:ph type="body" sz="quarter" idx="14"/>
          </p:nvPr>
        </p:nvSpPr>
        <p:spPr/>
        <p:txBody>
          <a:bodyPr/>
          <a:lstStyle/>
          <a:p>
            <a:r>
              <a:rPr lang="da-DK"/>
              <a:t>1</a:t>
            </a:r>
          </a:p>
        </p:txBody>
      </p:sp>
      <p:sp>
        <p:nvSpPr>
          <p:cNvPr id="3" name="Pladsholder til tekst 2">
            <a:extLst>
              <a:ext uri="{FF2B5EF4-FFF2-40B4-BE49-F238E27FC236}">
                <a16:creationId xmlns:a16="http://schemas.microsoft.com/office/drawing/2014/main" id="{EC08E1A0-A9E6-4F44-AFC8-0302B6BC9562}"/>
              </a:ext>
            </a:extLst>
          </p:cNvPr>
          <p:cNvSpPr>
            <a:spLocks noGrp="1"/>
          </p:cNvSpPr>
          <p:nvPr>
            <p:ph type="body" sz="quarter" idx="15"/>
          </p:nvPr>
        </p:nvSpPr>
        <p:spPr/>
        <p:txBody>
          <a:bodyPr/>
          <a:lstStyle/>
          <a:p>
            <a:r>
              <a:rPr lang="da-DK"/>
              <a:t>Budget 2024</a:t>
            </a:r>
          </a:p>
        </p:txBody>
      </p:sp>
      <p:sp>
        <p:nvSpPr>
          <p:cNvPr id="4" name="Titel 3">
            <a:extLst>
              <a:ext uri="{FF2B5EF4-FFF2-40B4-BE49-F238E27FC236}">
                <a16:creationId xmlns:a16="http://schemas.microsoft.com/office/drawing/2014/main" id="{444503E9-D91A-48D4-AEF0-EFFA4A3B2FAB}"/>
              </a:ext>
            </a:extLst>
          </p:cNvPr>
          <p:cNvSpPr>
            <a:spLocks noGrp="1"/>
          </p:cNvSpPr>
          <p:nvPr>
            <p:ph type="title"/>
          </p:nvPr>
        </p:nvSpPr>
        <p:spPr>
          <a:xfrm>
            <a:off x="5486400" y="404665"/>
            <a:ext cx="6081712" cy="978729"/>
          </a:xfrm>
        </p:spPr>
        <p:txBody>
          <a:bodyPr vert="horz"/>
          <a:lstStyle/>
          <a:p>
            <a:r>
              <a:rPr lang="da-DK"/>
              <a:t>6 ud af 7 partier har indgået </a:t>
            </a:r>
            <a:r>
              <a:rPr lang="da-DK" b="1">
                <a:solidFill>
                  <a:schemeClr val="accent1"/>
                </a:solidFill>
              </a:rPr>
              <a:t>budgetaftale på Frederiksberg</a:t>
            </a:r>
          </a:p>
        </p:txBody>
      </p:sp>
      <p:sp>
        <p:nvSpPr>
          <p:cNvPr id="5" name="Pladsholder til tekst 4">
            <a:extLst>
              <a:ext uri="{FF2B5EF4-FFF2-40B4-BE49-F238E27FC236}">
                <a16:creationId xmlns:a16="http://schemas.microsoft.com/office/drawing/2014/main" id="{CF3355EF-80FB-4F66-ADE0-844E6B8964B7}"/>
              </a:ext>
            </a:extLst>
          </p:cNvPr>
          <p:cNvSpPr>
            <a:spLocks noGrp="1"/>
          </p:cNvSpPr>
          <p:nvPr>
            <p:ph type="body" sz="quarter" idx="16"/>
          </p:nvPr>
        </p:nvSpPr>
        <p:spPr>
          <a:xfrm>
            <a:off x="5486399" y="1552035"/>
            <a:ext cx="5723467" cy="4524315"/>
          </a:xfrm>
          <a:solidFill>
            <a:schemeClr val="bg1"/>
          </a:solidFill>
          <a:ln>
            <a:noFill/>
          </a:ln>
        </p:spPr>
        <p:txBody>
          <a:bodyPr lIns="72000" tIns="45720" rIns="72000" bIns="45720" anchor="t">
            <a:spAutoFit/>
          </a:bodyPr>
          <a:lstStyle/>
          <a:p>
            <a:pPr>
              <a:spcBef>
                <a:spcPts val="0"/>
              </a:spcBef>
            </a:pPr>
            <a:r>
              <a:rPr lang="da-DK" sz="1800"/>
              <a:t>Socialdemokratiet, Enhedslisten, Det Radikale Venstre, Venstre, SF og Moderaterne har indgået aftale om Frederiksberg Kommunes budget for 2025</a:t>
            </a:r>
          </a:p>
          <a:p>
            <a:pPr>
              <a:spcBef>
                <a:spcPts val="0"/>
              </a:spcBef>
            </a:pPr>
            <a:endParaRPr lang="da-DK" sz="1800"/>
          </a:p>
          <a:p>
            <a:pPr>
              <a:spcBef>
                <a:spcPts val="0"/>
              </a:spcBef>
            </a:pPr>
            <a:r>
              <a:rPr lang="da-DK" sz="1800"/>
              <a:t>Budget 2025 prioriterer byens velfærd og Frederiksbergs grønne profil samtidig med, at skatten holdes uændret i 2025. I 2026 sænkes skatten i overensstemmelse med principperne besluttet med budgetaftalen for budget 2024.</a:t>
            </a:r>
            <a:endParaRPr lang="da-DK" sz="1800">
              <a:cs typeface="Segoe UI"/>
            </a:endParaRPr>
          </a:p>
          <a:p>
            <a:pPr>
              <a:spcBef>
                <a:spcPts val="0"/>
              </a:spcBef>
            </a:pPr>
            <a:endParaRPr lang="da-DK" sz="1800">
              <a:cs typeface="Segoe UI"/>
            </a:endParaRPr>
          </a:p>
          <a:p>
            <a:pPr>
              <a:spcBef>
                <a:spcPts val="0"/>
              </a:spcBef>
            </a:pPr>
            <a:r>
              <a:rPr lang="da-DK" sz="1800">
                <a:cs typeface="Segoe UI"/>
              </a:rPr>
              <a:t>Der er vedtaget besparelser og effektiviseringer for 44 mio. kr. i 2025 stigende til 68 mio. kr. i 2028. Det er lidt lavere end de sidste to års budgetaftaler.</a:t>
            </a:r>
          </a:p>
          <a:p>
            <a:pPr marL="0" indent="0">
              <a:spcBef>
                <a:spcPts val="0"/>
              </a:spcBef>
              <a:buNone/>
            </a:pPr>
            <a:endParaRPr lang="da-DK" sz="1800"/>
          </a:p>
          <a:p>
            <a:pPr>
              <a:spcBef>
                <a:spcPts val="0"/>
              </a:spcBef>
            </a:pPr>
            <a:r>
              <a:rPr lang="da-DK" sz="1800"/>
              <a:t>Med budgetaftalen vokser kommunens udgifter til service af byens borgere med 68 mio. kr. i 2025</a:t>
            </a:r>
            <a:endParaRPr lang="da-DK" sz="1800">
              <a:solidFill>
                <a:srgbClr val="FF0000"/>
              </a:solidFill>
            </a:endParaRPr>
          </a:p>
        </p:txBody>
      </p:sp>
      <p:pic>
        <p:nvPicPr>
          <p:cNvPr id="14" name="Billede 13">
            <a:extLst>
              <a:ext uri="{FF2B5EF4-FFF2-40B4-BE49-F238E27FC236}">
                <a16:creationId xmlns:a16="http://schemas.microsoft.com/office/drawing/2014/main" id="{9DB64210-4A16-6483-7BFF-6AA928F9611E}"/>
              </a:ext>
            </a:extLst>
          </p:cNvPr>
          <p:cNvPicPr>
            <a:picLocks noChangeAspect="1"/>
          </p:cNvPicPr>
          <p:nvPr/>
        </p:nvPicPr>
        <p:blipFill>
          <a:blip r:embed="rId5"/>
          <a:stretch>
            <a:fillRect/>
          </a:stretch>
        </p:blipFill>
        <p:spPr>
          <a:xfrm>
            <a:off x="0" y="-1"/>
            <a:ext cx="4920424" cy="6858001"/>
          </a:xfrm>
          <a:prstGeom prst="rect">
            <a:avLst/>
          </a:prstGeom>
        </p:spPr>
      </p:pic>
    </p:spTree>
    <p:extLst>
      <p:ext uri="{BB962C8B-B14F-4D97-AF65-F5344CB8AC3E}">
        <p14:creationId xmlns:p14="http://schemas.microsoft.com/office/powerpoint/2010/main" val="791913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C6ABA99-6B54-4DF9-8614-A2D50EC50F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5" imgH="405" progId="TCLayout.ActiveDocument.1">
                  <p:embed/>
                </p:oleObj>
              </mc:Choice>
              <mc:Fallback>
                <p:oleObj name="think-cell Slide" r:id="rId9" imgW="405" imgH="405" progId="TCLayout.ActiveDocument.1">
                  <p:embed/>
                  <p:pic>
                    <p:nvPicPr>
                      <p:cNvPr id="8" name="think-cell data - do not delete" hidden="1">
                        <a:extLst>
                          <a:ext uri="{FF2B5EF4-FFF2-40B4-BE49-F238E27FC236}">
                            <a16:creationId xmlns:a16="http://schemas.microsoft.com/office/drawing/2014/main" id="{AC6ABA99-6B54-4DF9-8614-A2D50EC50F5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003D99-86C6-4593-A084-5FB7011EFB17}"/>
              </a:ext>
            </a:extLst>
          </p:cNvPr>
          <p:cNvSpPr>
            <a:spLocks noGrp="1"/>
          </p:cNvSpPr>
          <p:nvPr>
            <p:ph type="title"/>
          </p:nvPr>
        </p:nvSpPr>
        <p:spPr>
          <a:xfrm>
            <a:off x="623888" y="404665"/>
            <a:ext cx="10944224" cy="978729"/>
          </a:xfrm>
        </p:spPr>
        <p:txBody>
          <a:bodyPr vert="horz" wrap="square" lIns="0" tIns="45720" rIns="91440" bIns="45720" anchor="t">
            <a:spAutoFit/>
          </a:bodyPr>
          <a:lstStyle/>
          <a:p>
            <a:r>
              <a:rPr lang="da-DK"/>
              <a:t>Der skabes balance i økonomien ved at skatten holdes uændret i 2025 og ved nye besparelser og effektiviseringer</a:t>
            </a:r>
          </a:p>
        </p:txBody>
      </p:sp>
      <p:sp>
        <p:nvSpPr>
          <p:cNvPr id="3" name="Pladsholder til tekst 2">
            <a:extLst>
              <a:ext uri="{FF2B5EF4-FFF2-40B4-BE49-F238E27FC236}">
                <a16:creationId xmlns:a16="http://schemas.microsoft.com/office/drawing/2014/main" id="{4F6388BC-B4FB-40B4-8EC8-E9128AFAAE29}"/>
              </a:ext>
            </a:extLst>
          </p:cNvPr>
          <p:cNvSpPr>
            <a:spLocks noGrp="1"/>
          </p:cNvSpPr>
          <p:nvPr>
            <p:ph type="body" sz="quarter" idx="12"/>
          </p:nvPr>
        </p:nvSpPr>
        <p:spPr>
          <a:xfrm>
            <a:off x="623888" y="1465406"/>
            <a:ext cx="3609972" cy="584775"/>
          </a:xfrm>
        </p:spPr>
        <p:txBody>
          <a:bodyPr/>
          <a:lstStyle/>
          <a:p>
            <a:r>
              <a:rPr lang="da-DK" sz="1600">
                <a:ea typeface="Ebrima" panose="02000000000000000000" pitchFamily="2" charset="0"/>
                <a:cs typeface="Segoe UI" panose="020B0502040204020203" pitchFamily="34" charset="0"/>
              </a:rPr>
              <a:t>Centrale elementer i budgetaftalen</a:t>
            </a:r>
          </a:p>
        </p:txBody>
      </p:sp>
      <p:sp>
        <p:nvSpPr>
          <p:cNvPr id="4" name="Pladsholder til tekst 3">
            <a:extLst>
              <a:ext uri="{FF2B5EF4-FFF2-40B4-BE49-F238E27FC236}">
                <a16:creationId xmlns:a16="http://schemas.microsoft.com/office/drawing/2014/main" id="{72867096-FC8D-4639-9D8E-A63432855DDC}"/>
              </a:ext>
            </a:extLst>
          </p:cNvPr>
          <p:cNvSpPr>
            <a:spLocks noGrp="1"/>
          </p:cNvSpPr>
          <p:nvPr>
            <p:ph type="body" sz="quarter" idx="13"/>
          </p:nvPr>
        </p:nvSpPr>
        <p:spPr/>
        <p:txBody>
          <a:bodyPr/>
          <a:lstStyle/>
          <a:p>
            <a:endParaRPr lang="da-DK"/>
          </a:p>
        </p:txBody>
      </p:sp>
      <p:sp>
        <p:nvSpPr>
          <p:cNvPr id="5" name="Pladsholder til tekst 4">
            <a:extLst>
              <a:ext uri="{FF2B5EF4-FFF2-40B4-BE49-F238E27FC236}">
                <a16:creationId xmlns:a16="http://schemas.microsoft.com/office/drawing/2014/main" id="{0E6D181A-84D7-4C4E-A4D6-56DC175D32C4}"/>
              </a:ext>
            </a:extLst>
          </p:cNvPr>
          <p:cNvSpPr>
            <a:spLocks noGrp="1"/>
          </p:cNvSpPr>
          <p:nvPr>
            <p:ph type="body" sz="quarter" idx="14"/>
          </p:nvPr>
        </p:nvSpPr>
        <p:spPr/>
        <p:txBody>
          <a:bodyPr/>
          <a:lstStyle/>
          <a:p>
            <a:r>
              <a:rPr lang="da-DK"/>
              <a:t> </a:t>
            </a:r>
          </a:p>
        </p:txBody>
      </p:sp>
      <p:sp>
        <p:nvSpPr>
          <p:cNvPr id="6" name="Pladsholder til tekst 5">
            <a:extLst>
              <a:ext uri="{FF2B5EF4-FFF2-40B4-BE49-F238E27FC236}">
                <a16:creationId xmlns:a16="http://schemas.microsoft.com/office/drawing/2014/main" id="{68C34345-6B57-41A8-BF2C-80DEBE832406}"/>
              </a:ext>
            </a:extLst>
          </p:cNvPr>
          <p:cNvSpPr>
            <a:spLocks noGrp="1"/>
          </p:cNvSpPr>
          <p:nvPr>
            <p:ph type="body" sz="quarter" idx="15"/>
          </p:nvPr>
        </p:nvSpPr>
        <p:spPr>
          <a:xfrm>
            <a:off x="407368" y="71030"/>
            <a:ext cx="11160744" cy="260350"/>
          </a:xfrm>
        </p:spPr>
        <p:txBody>
          <a:bodyPr/>
          <a:lstStyle/>
          <a:p>
            <a:r>
              <a:rPr lang="da-DK"/>
              <a:t>Budget 2025</a:t>
            </a:r>
          </a:p>
        </p:txBody>
      </p:sp>
      <p:sp>
        <p:nvSpPr>
          <p:cNvPr id="9" name="Pladsholder til tekst 2">
            <a:extLst>
              <a:ext uri="{FF2B5EF4-FFF2-40B4-BE49-F238E27FC236}">
                <a16:creationId xmlns:a16="http://schemas.microsoft.com/office/drawing/2014/main" id="{6788161E-55B4-48C6-BA34-2D4938E8CC52}"/>
              </a:ext>
            </a:extLst>
          </p:cNvPr>
          <p:cNvSpPr txBox="1">
            <a:spLocks/>
          </p:cNvSpPr>
          <p:nvPr/>
        </p:nvSpPr>
        <p:spPr>
          <a:xfrm>
            <a:off x="4975140" y="1711627"/>
            <a:ext cx="6592972" cy="338554"/>
          </a:xfrm>
          <a:prstGeom prst="rect">
            <a:avLst/>
          </a:prstGeom>
        </p:spPr>
        <p:txBody>
          <a:bodyPr wrap="square" lIns="0" rIns="0" anchor="b">
            <a:spAutoFit/>
          </a:bodyPr>
          <a:lstStyle>
            <a:lvl1pPr marL="0" indent="0" algn="l" defTabSz="914400" rtl="0" eaLnBrk="1" latinLnBrk="0" hangingPunct="1">
              <a:lnSpc>
                <a:spcPct val="100000"/>
              </a:lnSpc>
              <a:spcBef>
                <a:spcPts val="300"/>
              </a:spcBef>
              <a:buFont typeface="Arial" panose="020B0604020202020204" pitchFamily="34" charset="0"/>
              <a:buNone/>
              <a:defRPr sz="1200" b="1"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a-DK" sz="1600" b="1" i="0" u="none" strike="noStrike" kern="1200" cap="none" spc="0" normalizeH="0" baseline="0" noProof="0">
                <a:ln>
                  <a:noFill/>
                </a:ln>
                <a:solidFill>
                  <a:prstClr val="black">
                    <a:lumMod val="65000"/>
                    <a:lumOff val="35000"/>
                  </a:prstClr>
                </a:solidFill>
                <a:effectLst/>
                <a:uLnTx/>
                <a:uFillTx/>
                <a:latin typeface="Segoe UI"/>
                <a:ea typeface="+mn-ea"/>
                <a:cs typeface="+mn-cs"/>
              </a:rPr>
              <a:t>Overblik over besparelser og effektiviseringer, mio.kr. </a:t>
            </a:r>
          </a:p>
        </p:txBody>
      </p:sp>
      <p:sp>
        <p:nvSpPr>
          <p:cNvPr id="12" name="Rektangel: afrundede hjørner 11">
            <a:extLst>
              <a:ext uri="{FF2B5EF4-FFF2-40B4-BE49-F238E27FC236}">
                <a16:creationId xmlns:a16="http://schemas.microsoft.com/office/drawing/2014/main" id="{AB8A147D-92D7-0FE1-EC39-4768ABF31EA2}"/>
              </a:ext>
            </a:extLst>
          </p:cNvPr>
          <p:cNvSpPr/>
          <p:nvPr/>
        </p:nvSpPr>
        <p:spPr>
          <a:xfrm>
            <a:off x="707814" y="4343640"/>
            <a:ext cx="3526047" cy="1639648"/>
          </a:xfrm>
          <a:prstGeom prst="roundRect">
            <a:avLst>
              <a:gd name="adj" fmla="val 13832"/>
            </a:avLst>
          </a:prstGeom>
          <a:solidFill>
            <a:schemeClr val="accent1"/>
          </a:solidFill>
          <a:ln w="12700" cap="flat" cmpd="sng" algn="ctr">
            <a:noFill/>
            <a:prstDash val="solid"/>
            <a:miter lim="800000"/>
          </a:ln>
          <a:effectLst/>
        </p:spPr>
        <p:txBody>
          <a:bodyPr lIns="9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white"/>
                </a:solidFill>
                <a:effectLst/>
                <a:uLnTx/>
                <a:uFillTx/>
                <a:latin typeface="Segoe UI"/>
                <a:ea typeface="+mn-ea"/>
                <a:cs typeface="+mn-cs"/>
              </a:rPr>
              <a:t>Besparelser og effektiviseringer for 44 mio. kr. i 2025 stigende til 68 mio. kr. i 2028</a:t>
            </a:r>
          </a:p>
        </p:txBody>
      </p:sp>
      <p:sp>
        <p:nvSpPr>
          <p:cNvPr id="11" name="Rektangel: afrundede hjørner 10">
            <a:extLst>
              <a:ext uri="{FF2B5EF4-FFF2-40B4-BE49-F238E27FC236}">
                <a16:creationId xmlns:a16="http://schemas.microsoft.com/office/drawing/2014/main" id="{25159481-5837-8555-F783-97A7F26DBE30}"/>
              </a:ext>
            </a:extLst>
          </p:cNvPr>
          <p:cNvSpPr/>
          <p:nvPr/>
        </p:nvSpPr>
        <p:spPr>
          <a:xfrm>
            <a:off x="707815" y="2315326"/>
            <a:ext cx="3526046" cy="1811162"/>
          </a:xfrm>
          <a:prstGeom prst="roundRect">
            <a:avLst>
              <a:gd name="adj" fmla="val 13832"/>
            </a:avLst>
          </a:prstGeom>
          <a:solidFill>
            <a:schemeClr val="accent1"/>
          </a:solidFill>
          <a:ln w="12700" cap="flat" cmpd="sng" algn="ctr">
            <a:noFill/>
            <a:prstDash val="solid"/>
            <a:miter lim="800000"/>
          </a:ln>
          <a:effectLst/>
        </p:spPr>
        <p:txBody>
          <a:bodyPr lIns="9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white"/>
                </a:solidFill>
                <a:effectLst/>
                <a:uLnTx/>
                <a:uFillTx/>
                <a:latin typeface="Segoe UI"/>
                <a:ea typeface="+mn-ea"/>
                <a:cs typeface="+mn-cs"/>
              </a:rPr>
              <a:t>Skatten holdes uændret i 2025</a:t>
            </a:r>
          </a:p>
        </p:txBody>
      </p:sp>
      <p:pic>
        <p:nvPicPr>
          <p:cNvPr id="16" name="Grafik 15" descr="Søjlediagram med nedadgående tendens med massiv udfyldning">
            <a:extLst>
              <a:ext uri="{FF2B5EF4-FFF2-40B4-BE49-F238E27FC236}">
                <a16:creationId xmlns:a16="http://schemas.microsoft.com/office/drawing/2014/main" id="{98736546-F848-9447-6B1A-8863AC189AF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5024" y="4820955"/>
            <a:ext cx="685017" cy="685017"/>
          </a:xfrm>
          <a:prstGeom prst="rect">
            <a:avLst/>
          </a:prstGeom>
        </p:spPr>
      </p:pic>
      <p:pic>
        <p:nvPicPr>
          <p:cNvPr id="22" name="Grafik 21" descr="Mønter med massiv udfyldning">
            <a:extLst>
              <a:ext uri="{FF2B5EF4-FFF2-40B4-BE49-F238E27FC236}">
                <a16:creationId xmlns:a16="http://schemas.microsoft.com/office/drawing/2014/main" id="{70DAF0AD-12CD-862B-46DD-7B964DE56E7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839" y="2850309"/>
            <a:ext cx="693202" cy="693202"/>
          </a:xfrm>
          <a:prstGeom prst="rect">
            <a:avLst/>
          </a:prstGeom>
        </p:spPr>
      </p:pic>
      <p:graphicFrame>
        <p:nvGraphicFramePr>
          <p:cNvPr id="14" name="Chart 3">
            <a:extLst>
              <a:ext uri="{FF2B5EF4-FFF2-40B4-BE49-F238E27FC236}">
                <a16:creationId xmlns:a16="http://schemas.microsoft.com/office/drawing/2014/main" id="{D5745C95-5C4F-0FE8-66B2-F8F4958754FE}"/>
              </a:ext>
            </a:extLst>
          </p:cNvPr>
          <p:cNvGraphicFramePr/>
          <p:nvPr>
            <p:custDataLst>
              <p:tags r:id="rId2"/>
            </p:custDataLst>
          </p:nvPr>
        </p:nvGraphicFramePr>
        <p:xfrm>
          <a:off x="4892675" y="2171700"/>
          <a:ext cx="6508750" cy="3849688"/>
        </p:xfrm>
        <a:graphic>
          <a:graphicData uri="http://schemas.openxmlformats.org/drawingml/2006/chart">
            <c:chart xmlns:c="http://schemas.openxmlformats.org/drawingml/2006/chart" xmlns:r="http://schemas.openxmlformats.org/officeDocument/2006/relationships" r:id="rId15"/>
          </a:graphicData>
        </a:graphic>
      </p:graphicFrame>
      <p:sp>
        <p:nvSpPr>
          <p:cNvPr id="17" name="Rektangel 16">
            <a:extLst>
              <a:ext uri="{FF2B5EF4-FFF2-40B4-BE49-F238E27FC236}">
                <a16:creationId xmlns:a16="http://schemas.microsoft.com/office/drawing/2014/main" id="{43E956EE-46F2-DFC7-FB5A-43C470F90039}"/>
              </a:ext>
            </a:extLst>
          </p:cNvPr>
          <p:cNvSpPr/>
          <p:nvPr>
            <p:custDataLst>
              <p:tags r:id="rId3"/>
            </p:custDataLst>
          </p:nvPr>
        </p:nvSpPr>
        <p:spPr bwMode="auto">
          <a:xfrm>
            <a:off x="5541963" y="5741988"/>
            <a:ext cx="450850" cy="2444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31450FCB-16C1-4DBD-9363-F27DA70AA371}" type="datetime'2''''''''''''''''''''''''''02''''''''5'''''''">
              <a:rPr kumimoji="0" lang="da-DK" altLang="en-US" sz="1600" b="0" i="0" u="none" strike="noStrike" kern="1200" cap="none" spc="0" normalizeH="0" baseline="0" noProof="0" smtClean="0">
                <a:ln>
                  <a:noFill/>
                </a:ln>
                <a:solidFill>
                  <a:prstClr val="black"/>
                </a:solidFill>
                <a:effectLst/>
                <a:uLnTx/>
                <a:uFillTx/>
                <a:latin typeface="Segoe UI"/>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5</a:t>
            </a:fld>
            <a:endParaRPr kumimoji="0" lang="da-DK" sz="1600" b="0" i="0" u="none" strike="noStrike" kern="1200" cap="none" spc="0" normalizeH="0" baseline="0" noProof="0">
              <a:ln>
                <a:noFill/>
              </a:ln>
              <a:solidFill>
                <a:prstClr val="black"/>
              </a:solidFill>
              <a:effectLst/>
              <a:uLnTx/>
              <a:uFillTx/>
              <a:latin typeface="Segoe UI"/>
              <a:ea typeface="+mn-ea"/>
              <a:cs typeface="+mn-cs"/>
            </a:endParaRPr>
          </a:p>
        </p:txBody>
      </p:sp>
      <p:sp>
        <p:nvSpPr>
          <p:cNvPr id="18" name="Rektangel 17">
            <a:extLst>
              <a:ext uri="{FF2B5EF4-FFF2-40B4-BE49-F238E27FC236}">
                <a16:creationId xmlns:a16="http://schemas.microsoft.com/office/drawing/2014/main" id="{0A73CEB8-BD4A-5A36-54AB-9EC5E33451D8}"/>
              </a:ext>
            </a:extLst>
          </p:cNvPr>
          <p:cNvSpPr/>
          <p:nvPr>
            <p:custDataLst>
              <p:tags r:id="rId4"/>
            </p:custDataLst>
          </p:nvPr>
        </p:nvSpPr>
        <p:spPr bwMode="auto">
          <a:xfrm>
            <a:off x="7127875" y="5741988"/>
            <a:ext cx="450850" cy="2444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5A792467-4EA6-4684-866A-2DB64C9D96D9}" type="datetime'2''0''''''''''''''2''''''''''''''''''6'''''''''''''">
              <a:rPr kumimoji="0" lang="da-DK" altLang="en-US" sz="1600" b="0" i="0" u="none" strike="noStrike" kern="1200" cap="none" spc="0" normalizeH="0" baseline="0" noProof="0" smtClean="0">
                <a:ln>
                  <a:noFill/>
                </a:ln>
                <a:solidFill>
                  <a:prstClr val="black"/>
                </a:solidFill>
                <a:effectLst/>
                <a:uLnTx/>
                <a:uFillTx/>
                <a:latin typeface="Segoe UI"/>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6</a:t>
            </a:fld>
            <a:endParaRPr kumimoji="0" lang="da-DK" sz="1600" b="0" i="0" u="none" strike="noStrike" kern="1200" cap="none" spc="0" normalizeH="0" baseline="0" noProof="0">
              <a:ln>
                <a:noFill/>
              </a:ln>
              <a:solidFill>
                <a:prstClr val="black"/>
              </a:solidFill>
              <a:effectLst/>
              <a:uLnTx/>
              <a:uFillTx/>
              <a:latin typeface="Segoe UI"/>
              <a:ea typeface="+mn-ea"/>
              <a:cs typeface="+mn-cs"/>
            </a:endParaRPr>
          </a:p>
        </p:txBody>
      </p:sp>
      <p:sp>
        <p:nvSpPr>
          <p:cNvPr id="19" name="Rektangel 18">
            <a:extLst>
              <a:ext uri="{FF2B5EF4-FFF2-40B4-BE49-F238E27FC236}">
                <a16:creationId xmlns:a16="http://schemas.microsoft.com/office/drawing/2014/main" id="{CE2D97DE-8217-8DFE-8C11-E27D0ED92A27}"/>
              </a:ext>
            </a:extLst>
          </p:cNvPr>
          <p:cNvSpPr/>
          <p:nvPr>
            <p:custDataLst>
              <p:tags r:id="rId5"/>
            </p:custDataLst>
          </p:nvPr>
        </p:nvSpPr>
        <p:spPr bwMode="auto">
          <a:xfrm>
            <a:off x="8713788" y="5741988"/>
            <a:ext cx="450850" cy="2444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98967A64-9771-4ACD-ABC9-6EAFF47495CE}" type="datetime'''''''''''''''''''2''''0''''''''''''''''''''2''''''''''''7'''">
              <a:rPr kumimoji="0" lang="da-DK" altLang="en-US" sz="1600" b="0" i="0" u="none" strike="noStrike" kern="1200" cap="none" spc="0" normalizeH="0" baseline="0" noProof="0" smtClean="0">
                <a:ln>
                  <a:noFill/>
                </a:ln>
                <a:solidFill>
                  <a:prstClr val="black"/>
                </a:solidFill>
                <a:effectLst/>
                <a:uLnTx/>
                <a:uFillTx/>
                <a:latin typeface="Segoe UI"/>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7</a:t>
            </a:fld>
            <a:endParaRPr kumimoji="0" lang="da-DK" sz="1600" b="0" i="0" u="none" strike="noStrike" kern="1200" cap="none" spc="0" normalizeH="0" baseline="0" noProof="0">
              <a:ln>
                <a:noFill/>
              </a:ln>
              <a:solidFill>
                <a:prstClr val="black"/>
              </a:solidFill>
              <a:effectLst/>
              <a:uLnTx/>
              <a:uFillTx/>
              <a:latin typeface="Segoe UI"/>
              <a:ea typeface="+mn-ea"/>
              <a:cs typeface="+mn-cs"/>
            </a:endParaRPr>
          </a:p>
        </p:txBody>
      </p:sp>
      <p:sp>
        <p:nvSpPr>
          <p:cNvPr id="21" name="Rektangel 20">
            <a:extLst>
              <a:ext uri="{FF2B5EF4-FFF2-40B4-BE49-F238E27FC236}">
                <a16:creationId xmlns:a16="http://schemas.microsoft.com/office/drawing/2014/main" id="{8F7D2DAB-1DC1-B071-FB17-C37F2EDDC9A8}"/>
              </a:ext>
            </a:extLst>
          </p:cNvPr>
          <p:cNvSpPr/>
          <p:nvPr>
            <p:custDataLst>
              <p:tags r:id="rId6"/>
            </p:custDataLst>
          </p:nvPr>
        </p:nvSpPr>
        <p:spPr bwMode="auto">
          <a:xfrm>
            <a:off x="10299700" y="5741988"/>
            <a:ext cx="450850" cy="2444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428050AF-15F4-428F-BEAA-051957C48C9E}" type="datetime'''''''''20''''''2''''''''''''''''''8'">
              <a:rPr kumimoji="0" lang="da-DK" altLang="en-US" sz="1600" b="0" i="0" u="none" strike="noStrike" kern="1200" cap="none" spc="0" normalizeH="0" baseline="0" noProof="0" smtClean="0">
                <a:ln>
                  <a:noFill/>
                </a:ln>
                <a:solidFill>
                  <a:prstClr val="black"/>
                </a:solidFill>
                <a:effectLst/>
                <a:uLnTx/>
                <a:uFillTx/>
                <a:latin typeface="Segoe UI"/>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8</a:t>
            </a:fld>
            <a:endParaRPr kumimoji="0" lang="da-DK" sz="1600" b="0" i="0" u="none" strike="noStrike" kern="1200" cap="none" spc="0" normalizeH="0" baseline="0" noProof="0">
              <a:ln>
                <a:noFill/>
              </a:ln>
              <a:solidFill>
                <a:prstClr val="black"/>
              </a:solidFill>
              <a:effectLst/>
              <a:uLnTx/>
              <a:uFillTx/>
              <a:latin typeface="Segoe UI"/>
              <a:ea typeface="+mn-ea"/>
              <a:cs typeface="+mn-cs"/>
            </a:endParaRPr>
          </a:p>
        </p:txBody>
      </p:sp>
      <p:sp>
        <p:nvSpPr>
          <p:cNvPr id="35" name="Ligebenet trekant 34">
            <a:extLst>
              <a:ext uri="{FF2B5EF4-FFF2-40B4-BE49-F238E27FC236}">
                <a16:creationId xmlns:a16="http://schemas.microsoft.com/office/drawing/2014/main" id="{74F99CED-CB42-6E46-7716-D0903A05D7E1}"/>
              </a:ext>
            </a:extLst>
          </p:cNvPr>
          <p:cNvSpPr/>
          <p:nvPr/>
        </p:nvSpPr>
        <p:spPr>
          <a:xfrm rot="16200000">
            <a:off x="2775744" y="3685377"/>
            <a:ext cx="3717925" cy="801692"/>
          </a:xfrm>
          <a:prstGeom prst="triangle">
            <a:avLst>
              <a:gd name="adj" fmla="val 20428"/>
            </a:avLst>
          </a:prstGeom>
          <a:gradFill>
            <a:gsLst>
              <a:gs pos="17000">
                <a:schemeClr val="tx2">
                  <a:lumMod val="25000"/>
                  <a:lumOff val="75000"/>
                </a:schemeClr>
              </a:gs>
              <a:gs pos="48000">
                <a:schemeClr val="tx2">
                  <a:lumMod val="21000"/>
                  <a:lumOff val="79000"/>
                </a:schemeClr>
              </a:gs>
              <a:gs pos="66000">
                <a:schemeClr val="tx2">
                  <a:lumMod val="21000"/>
                  <a:lumOff val="79000"/>
                </a:schemeClr>
              </a:gs>
              <a:gs pos="100000">
                <a:schemeClr val="tx2">
                  <a:lumMod val="10000"/>
                  <a:lumOff val="9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Ellipse 31">
            <a:extLst>
              <a:ext uri="{FF2B5EF4-FFF2-40B4-BE49-F238E27FC236}">
                <a16:creationId xmlns:a16="http://schemas.microsoft.com/office/drawing/2014/main" id="{4C19F8EE-4813-9999-8248-11F12B9B34CE}"/>
              </a:ext>
            </a:extLst>
          </p:cNvPr>
          <p:cNvSpPr/>
          <p:nvPr/>
        </p:nvSpPr>
        <p:spPr>
          <a:xfrm>
            <a:off x="4025123" y="4970354"/>
            <a:ext cx="417471" cy="419690"/>
          </a:xfrm>
          <a:prstGeom prst="ellipse">
            <a:avLst/>
          </a:prstGeom>
          <a:solidFill>
            <a:srgbClr val="C7C0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2625965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E9DEDE70-FDEA-44FB-9479-0F198BD6F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05" imgH="405" progId="TCLayout.ActiveDocument.1">
                  <p:embed/>
                </p:oleObj>
              </mc:Choice>
              <mc:Fallback>
                <p:oleObj name="think-cell Slide" r:id="rId28" imgW="405" imgH="405" progId="TCLayout.ActiveDocument.1">
                  <p:embed/>
                  <p:pic>
                    <p:nvPicPr>
                      <p:cNvPr id="35" name="think-cell data - do not delete" hidden="1">
                        <a:extLst>
                          <a:ext uri="{FF2B5EF4-FFF2-40B4-BE49-F238E27FC236}">
                            <a16:creationId xmlns:a16="http://schemas.microsoft.com/office/drawing/2014/main" id="{E9DEDE70-FDEA-44FB-9479-0F198BD6F88D}"/>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CFFBFCA-C58A-4DAC-B147-6A5853BBE963}"/>
              </a:ext>
            </a:extLst>
          </p:cNvPr>
          <p:cNvSpPr>
            <a:spLocks noGrp="1"/>
          </p:cNvSpPr>
          <p:nvPr>
            <p:ph type="title"/>
          </p:nvPr>
        </p:nvSpPr>
        <p:spPr>
          <a:xfrm>
            <a:off x="623888" y="404665"/>
            <a:ext cx="11080432" cy="978729"/>
          </a:xfrm>
        </p:spPr>
        <p:txBody>
          <a:bodyPr vert="horz" wrap="square" lIns="0" tIns="45720" rIns="91440" bIns="45720" anchor="t">
            <a:spAutoFit/>
          </a:bodyPr>
          <a:lstStyle/>
          <a:p>
            <a:r>
              <a:rPr lang="da-DK"/>
              <a:t>Besparelserne hentes særligt på Ældre- og Omsorgsudvalget, Magistraten og ved tværgående besparelser</a:t>
            </a:r>
          </a:p>
        </p:txBody>
      </p:sp>
      <p:sp>
        <p:nvSpPr>
          <p:cNvPr id="3" name="Pladsholder til tekst 2">
            <a:extLst>
              <a:ext uri="{FF2B5EF4-FFF2-40B4-BE49-F238E27FC236}">
                <a16:creationId xmlns:a16="http://schemas.microsoft.com/office/drawing/2014/main" id="{0F6F1947-687E-46C0-BC72-98B85CB89914}"/>
              </a:ext>
            </a:extLst>
          </p:cNvPr>
          <p:cNvSpPr>
            <a:spLocks noGrp="1"/>
          </p:cNvSpPr>
          <p:nvPr>
            <p:ph type="body" sz="quarter" idx="12"/>
          </p:nvPr>
        </p:nvSpPr>
        <p:spPr>
          <a:xfrm>
            <a:off x="623887" y="1775023"/>
            <a:ext cx="4525055" cy="307777"/>
          </a:xfrm>
        </p:spPr>
        <p:txBody>
          <a:bodyPr/>
          <a:lstStyle/>
          <a:p>
            <a:r>
              <a:rPr lang="da-DK" sz="1400"/>
              <a:t>Besparelser i 2025 fordelt efter udvalg, mio.kr. </a:t>
            </a:r>
          </a:p>
        </p:txBody>
      </p:sp>
      <p:sp>
        <p:nvSpPr>
          <p:cNvPr id="4" name="Pladsholder til tekst 3">
            <a:extLst>
              <a:ext uri="{FF2B5EF4-FFF2-40B4-BE49-F238E27FC236}">
                <a16:creationId xmlns:a16="http://schemas.microsoft.com/office/drawing/2014/main" id="{AF1B588A-89D4-483C-B170-D745F0A7EF34}"/>
              </a:ext>
            </a:extLst>
          </p:cNvPr>
          <p:cNvSpPr>
            <a:spLocks noGrp="1"/>
          </p:cNvSpPr>
          <p:nvPr>
            <p:ph type="body" sz="quarter" idx="13"/>
          </p:nvPr>
        </p:nvSpPr>
        <p:spPr/>
        <p:txBody>
          <a:bodyPr/>
          <a:lstStyle/>
          <a:p>
            <a:endParaRPr lang="da-DK"/>
          </a:p>
        </p:txBody>
      </p:sp>
      <p:sp>
        <p:nvSpPr>
          <p:cNvPr id="5" name="Pladsholder til tekst 4">
            <a:extLst>
              <a:ext uri="{FF2B5EF4-FFF2-40B4-BE49-F238E27FC236}">
                <a16:creationId xmlns:a16="http://schemas.microsoft.com/office/drawing/2014/main" id="{0710DB66-E2D0-4FC1-8754-6E3B9232C287}"/>
              </a:ext>
            </a:extLst>
          </p:cNvPr>
          <p:cNvSpPr>
            <a:spLocks noGrp="1"/>
          </p:cNvSpPr>
          <p:nvPr>
            <p:ph type="body" sz="quarter" idx="14"/>
          </p:nvPr>
        </p:nvSpPr>
        <p:spPr/>
        <p:txBody>
          <a:bodyPr/>
          <a:lstStyle/>
          <a:p>
            <a:r>
              <a:rPr lang="da-DK"/>
              <a:t> </a:t>
            </a:r>
          </a:p>
        </p:txBody>
      </p:sp>
      <p:sp>
        <p:nvSpPr>
          <p:cNvPr id="6" name="Pladsholder til tekst 5">
            <a:extLst>
              <a:ext uri="{FF2B5EF4-FFF2-40B4-BE49-F238E27FC236}">
                <a16:creationId xmlns:a16="http://schemas.microsoft.com/office/drawing/2014/main" id="{D29AD6E4-45AD-456F-9916-16200829B16A}"/>
              </a:ext>
            </a:extLst>
          </p:cNvPr>
          <p:cNvSpPr>
            <a:spLocks noGrp="1"/>
          </p:cNvSpPr>
          <p:nvPr>
            <p:ph type="body" sz="quarter" idx="15"/>
          </p:nvPr>
        </p:nvSpPr>
        <p:spPr/>
        <p:txBody>
          <a:bodyPr/>
          <a:lstStyle/>
          <a:p>
            <a:r>
              <a:rPr lang="da-DK"/>
              <a:t>Budget 2025</a:t>
            </a:r>
          </a:p>
        </p:txBody>
      </p:sp>
      <p:cxnSp>
        <p:nvCxnSpPr>
          <p:cNvPr id="79" name="Lige forbindelse 78">
            <a:extLst>
              <a:ext uri="{FF2B5EF4-FFF2-40B4-BE49-F238E27FC236}">
                <a16:creationId xmlns:a16="http://schemas.microsoft.com/office/drawing/2014/main" id="{E458ECA8-BFE0-6F8E-606B-7EF6781A96FB}"/>
              </a:ext>
            </a:extLst>
          </p:cNvPr>
          <p:cNvCxnSpPr/>
          <p:nvPr>
            <p:custDataLst>
              <p:tags r:id="rId2"/>
            </p:custDataLst>
          </p:nvPr>
        </p:nvCxnSpPr>
        <p:spPr bwMode="auto">
          <a:xfrm>
            <a:off x="9596438" y="5251450"/>
            <a:ext cx="0" cy="152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Lige forbindelse 79">
            <a:extLst>
              <a:ext uri="{FF2B5EF4-FFF2-40B4-BE49-F238E27FC236}">
                <a16:creationId xmlns:a16="http://schemas.microsoft.com/office/drawing/2014/main" id="{D03A2779-ECAC-BEAC-69F8-14B701CD17CE}"/>
              </a:ext>
            </a:extLst>
          </p:cNvPr>
          <p:cNvCxnSpPr/>
          <p:nvPr>
            <p:custDataLst>
              <p:tags r:id="rId3"/>
            </p:custDataLst>
          </p:nvPr>
        </p:nvCxnSpPr>
        <p:spPr bwMode="auto">
          <a:xfrm>
            <a:off x="11372850" y="5595938"/>
            <a:ext cx="0" cy="152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Lige forbindelse 82">
            <a:extLst>
              <a:ext uri="{FF2B5EF4-FFF2-40B4-BE49-F238E27FC236}">
                <a16:creationId xmlns:a16="http://schemas.microsoft.com/office/drawing/2014/main" id="{ED12C423-B9CC-1113-C3BD-F6C9AC4E7D5D}"/>
              </a:ext>
            </a:extLst>
          </p:cNvPr>
          <p:cNvCxnSpPr/>
          <p:nvPr>
            <p:custDataLst>
              <p:tags r:id="rId4"/>
            </p:custDataLst>
          </p:nvPr>
        </p:nvCxnSpPr>
        <p:spPr bwMode="auto">
          <a:xfrm>
            <a:off x="4505325" y="2503489"/>
            <a:ext cx="0" cy="15081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Lige forbindelse 85">
            <a:extLst>
              <a:ext uri="{FF2B5EF4-FFF2-40B4-BE49-F238E27FC236}">
                <a16:creationId xmlns:a16="http://schemas.microsoft.com/office/drawing/2014/main" id="{392EEF1C-ECA8-7E52-8358-AC9D1BCE1E53}"/>
              </a:ext>
            </a:extLst>
          </p:cNvPr>
          <p:cNvCxnSpPr/>
          <p:nvPr>
            <p:custDataLst>
              <p:tags r:id="rId5"/>
            </p:custDataLst>
          </p:nvPr>
        </p:nvCxnSpPr>
        <p:spPr bwMode="auto">
          <a:xfrm>
            <a:off x="4816475" y="2846388"/>
            <a:ext cx="0" cy="152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Lige forbindelse 93">
            <a:extLst>
              <a:ext uri="{FF2B5EF4-FFF2-40B4-BE49-F238E27FC236}">
                <a16:creationId xmlns:a16="http://schemas.microsoft.com/office/drawing/2014/main" id="{A7431EF4-0296-7E77-9410-E2232A13EE95}"/>
              </a:ext>
            </a:extLst>
          </p:cNvPr>
          <p:cNvCxnSpPr/>
          <p:nvPr>
            <p:custDataLst>
              <p:tags r:id="rId6"/>
            </p:custDataLst>
          </p:nvPr>
        </p:nvCxnSpPr>
        <p:spPr bwMode="auto">
          <a:xfrm>
            <a:off x="6750050" y="3189288"/>
            <a:ext cx="0" cy="152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Lige forbindelse 94">
            <a:extLst>
              <a:ext uri="{FF2B5EF4-FFF2-40B4-BE49-F238E27FC236}">
                <a16:creationId xmlns:a16="http://schemas.microsoft.com/office/drawing/2014/main" id="{22F237A5-A880-CC12-8C3D-FD69E7C332A8}"/>
              </a:ext>
            </a:extLst>
          </p:cNvPr>
          <p:cNvCxnSpPr/>
          <p:nvPr>
            <p:custDataLst>
              <p:tags r:id="rId7"/>
            </p:custDataLst>
          </p:nvPr>
        </p:nvCxnSpPr>
        <p:spPr bwMode="auto">
          <a:xfrm>
            <a:off x="6818313" y="3533775"/>
            <a:ext cx="0" cy="152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Lige forbindelse 95">
            <a:extLst>
              <a:ext uri="{FF2B5EF4-FFF2-40B4-BE49-F238E27FC236}">
                <a16:creationId xmlns:a16="http://schemas.microsoft.com/office/drawing/2014/main" id="{4EACF697-4B82-C1D2-6CFE-625267C176E7}"/>
              </a:ext>
            </a:extLst>
          </p:cNvPr>
          <p:cNvCxnSpPr/>
          <p:nvPr>
            <p:custDataLst>
              <p:tags r:id="rId8"/>
            </p:custDataLst>
          </p:nvPr>
        </p:nvCxnSpPr>
        <p:spPr bwMode="auto">
          <a:xfrm>
            <a:off x="7486650" y="3876675"/>
            <a:ext cx="0" cy="152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Lige forbindelse 96">
            <a:extLst>
              <a:ext uri="{FF2B5EF4-FFF2-40B4-BE49-F238E27FC236}">
                <a16:creationId xmlns:a16="http://schemas.microsoft.com/office/drawing/2014/main" id="{B77EC53C-2868-78EA-7FFF-9731E115FF7A}"/>
              </a:ext>
            </a:extLst>
          </p:cNvPr>
          <p:cNvCxnSpPr/>
          <p:nvPr>
            <p:custDataLst>
              <p:tags r:id="rId9"/>
            </p:custDataLst>
          </p:nvPr>
        </p:nvCxnSpPr>
        <p:spPr bwMode="auto">
          <a:xfrm>
            <a:off x="7959725" y="4221163"/>
            <a:ext cx="0" cy="152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Lige forbindelse 97">
            <a:extLst>
              <a:ext uri="{FF2B5EF4-FFF2-40B4-BE49-F238E27FC236}">
                <a16:creationId xmlns:a16="http://schemas.microsoft.com/office/drawing/2014/main" id="{7AA7AFA9-77E8-E9B1-5279-A7FC06AB194D}"/>
              </a:ext>
            </a:extLst>
          </p:cNvPr>
          <p:cNvCxnSpPr/>
          <p:nvPr>
            <p:custDataLst>
              <p:tags r:id="rId10"/>
            </p:custDataLst>
          </p:nvPr>
        </p:nvCxnSpPr>
        <p:spPr bwMode="auto">
          <a:xfrm>
            <a:off x="8058150" y="4564063"/>
            <a:ext cx="0" cy="152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Lige forbindelse 98">
            <a:extLst>
              <a:ext uri="{FF2B5EF4-FFF2-40B4-BE49-F238E27FC236}">
                <a16:creationId xmlns:a16="http://schemas.microsoft.com/office/drawing/2014/main" id="{B5239F64-EAB7-D612-DDC2-86C369820B00}"/>
              </a:ext>
            </a:extLst>
          </p:cNvPr>
          <p:cNvCxnSpPr/>
          <p:nvPr>
            <p:custDataLst>
              <p:tags r:id="rId11"/>
            </p:custDataLst>
          </p:nvPr>
        </p:nvCxnSpPr>
        <p:spPr bwMode="auto">
          <a:xfrm>
            <a:off x="8139113" y="4908550"/>
            <a:ext cx="0" cy="152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06" name="Chart 3">
            <a:extLst>
              <a:ext uri="{FF2B5EF4-FFF2-40B4-BE49-F238E27FC236}">
                <a16:creationId xmlns:a16="http://schemas.microsoft.com/office/drawing/2014/main" id="{9FBF8081-5E1F-E345-F843-285272B714EB}"/>
              </a:ext>
            </a:extLst>
          </p:cNvPr>
          <p:cNvGraphicFramePr/>
          <p:nvPr>
            <p:custDataLst>
              <p:tags r:id="rId12"/>
            </p:custDataLst>
          </p:nvPr>
        </p:nvGraphicFramePr>
        <p:xfrm>
          <a:off x="4162425" y="1928813"/>
          <a:ext cx="7292975" cy="4392612"/>
        </p:xfrm>
        <a:graphic>
          <a:graphicData uri="http://schemas.openxmlformats.org/drawingml/2006/chart">
            <c:chart xmlns:c="http://schemas.openxmlformats.org/drawingml/2006/chart" xmlns:r="http://schemas.openxmlformats.org/officeDocument/2006/relationships" r:id="rId30"/>
          </a:graphicData>
        </a:graphic>
      </p:graphicFrame>
      <p:cxnSp>
        <p:nvCxnSpPr>
          <p:cNvPr id="192" name="Lige forbindelse 191">
            <a:extLst>
              <a:ext uri="{FF2B5EF4-FFF2-40B4-BE49-F238E27FC236}">
                <a16:creationId xmlns:a16="http://schemas.microsoft.com/office/drawing/2014/main" id="{F3614426-3868-7273-C9D2-0DF8BBA1E4D8}"/>
              </a:ext>
            </a:extLst>
          </p:cNvPr>
          <p:cNvCxnSpPr/>
          <p:nvPr>
            <p:custDataLst>
              <p:tags r:id="rId13"/>
            </p:custDataLst>
          </p:nvPr>
        </p:nvCxnSpPr>
        <p:spPr bwMode="auto">
          <a:xfrm flipH="1">
            <a:off x="8008938" y="4468813"/>
            <a:ext cx="7461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4" name="Rektangel 73">
            <a:extLst>
              <a:ext uri="{FF2B5EF4-FFF2-40B4-BE49-F238E27FC236}">
                <a16:creationId xmlns:a16="http://schemas.microsoft.com/office/drawing/2014/main" id="{A5E9432F-2759-BA5A-A546-DD957C943D1E}"/>
              </a:ext>
            </a:extLst>
          </p:cNvPr>
          <p:cNvSpPr/>
          <p:nvPr>
            <p:custDataLst>
              <p:tags r:id="rId14"/>
            </p:custDataLst>
          </p:nvPr>
        </p:nvSpPr>
        <p:spPr bwMode="auto">
          <a:xfrm>
            <a:off x="730250" y="2300288"/>
            <a:ext cx="237966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08913D22-CF28-410A-8012-63F51D4E5B39}" type="datetime'''Kli''''''ma-'', P''''''''lan- og B''o''ligud''val''g''et'''">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Klima-, Plan- og Boligudvalget</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77" name="Rektangel 76">
            <a:extLst>
              <a:ext uri="{FF2B5EF4-FFF2-40B4-BE49-F238E27FC236}">
                <a16:creationId xmlns:a16="http://schemas.microsoft.com/office/drawing/2014/main" id="{0EC82983-DED7-7C75-7399-542A08362A4B}"/>
              </a:ext>
            </a:extLst>
          </p:cNvPr>
          <p:cNvSpPr/>
          <p:nvPr>
            <p:custDataLst>
              <p:tags r:id="rId15"/>
            </p:custDataLst>
          </p:nvPr>
        </p:nvSpPr>
        <p:spPr bwMode="auto">
          <a:xfrm>
            <a:off x="730250" y="5392738"/>
            <a:ext cx="9620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AACCA8BF-A714-4F9B-860D-6CBBB4740DBB}" type="datetime'T''v''''æ''r''''''''gå''''''''''''''e''nd''''''e'''''''">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Tværgående</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78" name="Rektangel 77">
            <a:extLst>
              <a:ext uri="{FF2B5EF4-FFF2-40B4-BE49-F238E27FC236}">
                <a16:creationId xmlns:a16="http://schemas.microsoft.com/office/drawing/2014/main" id="{8D7C194B-60D7-0FA0-4DB0-0ED1EF19CCD8}"/>
              </a:ext>
            </a:extLst>
          </p:cNvPr>
          <p:cNvSpPr/>
          <p:nvPr>
            <p:custDataLst>
              <p:tags r:id="rId16"/>
            </p:custDataLst>
          </p:nvPr>
        </p:nvSpPr>
        <p:spPr bwMode="auto">
          <a:xfrm>
            <a:off x="730250" y="5737225"/>
            <a:ext cx="3206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806D9BF6-7774-40E0-BACF-818F2E63B839}" type="datetime'''''''''''''''''''''I'''''''''''' ''''a''''''''''''l''''t'''''">
              <a:rPr kumimoji="0" lang="da-DK" altLang="en-US" sz="1400" b="1"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I alt</a:t>
            </a:fld>
            <a:endParaRPr kumimoji="0" lang="da-DK" sz="1400" b="1" i="0" u="none" strike="noStrike" kern="1200" cap="none" spc="0" normalizeH="0" baseline="0" noProof="0">
              <a:ln>
                <a:noFill/>
              </a:ln>
              <a:solidFill>
                <a:prstClr val="black"/>
              </a:solidFill>
              <a:effectLst/>
              <a:uLnTx/>
              <a:uFillTx/>
              <a:latin typeface="Segoe UI"/>
              <a:ea typeface="+mn-ea"/>
              <a:cs typeface="+mn-cs"/>
            </a:endParaRPr>
          </a:p>
        </p:txBody>
      </p:sp>
      <p:sp>
        <p:nvSpPr>
          <p:cNvPr id="105" name="Rektangel 104">
            <a:extLst>
              <a:ext uri="{FF2B5EF4-FFF2-40B4-BE49-F238E27FC236}">
                <a16:creationId xmlns:a16="http://schemas.microsoft.com/office/drawing/2014/main" id="{B155FF7D-4A9C-38C3-E304-58D4E30497F1}"/>
              </a:ext>
            </a:extLst>
          </p:cNvPr>
          <p:cNvSpPr/>
          <p:nvPr>
            <p:custDataLst>
              <p:tags r:id="rId17"/>
            </p:custDataLst>
          </p:nvPr>
        </p:nvSpPr>
        <p:spPr bwMode="auto">
          <a:xfrm>
            <a:off x="730250" y="2643188"/>
            <a:ext cx="17970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E5940E73-B9DD-4240-8AF7-789CDB6C1FB4}" type="datetime'''Unde''''''rv''''is''n''ing''s''u''''d''''''''v''al''g''e''t'">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Undervisningsudvalget</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Rektangel 109">
            <a:extLst>
              <a:ext uri="{FF2B5EF4-FFF2-40B4-BE49-F238E27FC236}">
                <a16:creationId xmlns:a16="http://schemas.microsoft.com/office/drawing/2014/main" id="{E93B56C9-9CFD-D05D-E199-B62C0BD225D6}"/>
              </a:ext>
            </a:extLst>
          </p:cNvPr>
          <p:cNvSpPr/>
          <p:nvPr>
            <p:custDataLst>
              <p:tags r:id="rId18"/>
            </p:custDataLst>
          </p:nvPr>
        </p:nvSpPr>
        <p:spPr bwMode="auto">
          <a:xfrm>
            <a:off x="730250" y="2987675"/>
            <a:ext cx="22193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C04BCA78-1A37-49E9-9D4F-40217E719770}" type="datetime'Æl''''d''''re- ''og'' ''O''''''ms''orgsud''''va''''l''''''get'">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Ældre- og Omsorgsudvalget</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Rektangel 114">
            <a:extLst>
              <a:ext uri="{FF2B5EF4-FFF2-40B4-BE49-F238E27FC236}">
                <a16:creationId xmlns:a16="http://schemas.microsoft.com/office/drawing/2014/main" id="{A934A0B9-2D79-7469-4278-1CA95F2CBC34}"/>
              </a:ext>
            </a:extLst>
          </p:cNvPr>
          <p:cNvSpPr/>
          <p:nvPr>
            <p:custDataLst>
              <p:tags r:id="rId19"/>
            </p:custDataLst>
          </p:nvPr>
        </p:nvSpPr>
        <p:spPr bwMode="auto">
          <a:xfrm>
            <a:off x="730250" y="3330575"/>
            <a:ext cx="20034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8A1DA50B-E811-4C39-B257-9468CF438919}" type="datetime'''K''''''ul''t''''''ur-'' ''o''g'' ''Fritid''s''''udvalg''et'">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Kultur- og Fritidsudvalget</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Rektangel 120">
            <a:extLst>
              <a:ext uri="{FF2B5EF4-FFF2-40B4-BE49-F238E27FC236}">
                <a16:creationId xmlns:a16="http://schemas.microsoft.com/office/drawing/2014/main" id="{84AE0319-E1F0-1FCA-4D95-0FA0F73E928C}"/>
              </a:ext>
            </a:extLst>
          </p:cNvPr>
          <p:cNvSpPr/>
          <p:nvPr>
            <p:custDataLst>
              <p:tags r:id="rId20"/>
            </p:custDataLst>
          </p:nvPr>
        </p:nvSpPr>
        <p:spPr bwMode="auto">
          <a:xfrm>
            <a:off x="730250" y="3675063"/>
            <a:ext cx="11414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1C8A50EC-8282-48DB-80A7-A5390411E412}" type="datetime'B''''''ø''r''''''ne''u''''''dva''''''''''l''''''g''''''''e''t'">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ørneudvalget</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133" name="Rektangel 132">
            <a:extLst>
              <a:ext uri="{FF2B5EF4-FFF2-40B4-BE49-F238E27FC236}">
                <a16:creationId xmlns:a16="http://schemas.microsoft.com/office/drawing/2014/main" id="{9FA8A469-3EEB-048B-C531-8109C2DCD67B}"/>
              </a:ext>
            </a:extLst>
          </p:cNvPr>
          <p:cNvSpPr/>
          <p:nvPr>
            <p:custDataLst>
              <p:tags r:id="rId21"/>
            </p:custDataLst>
          </p:nvPr>
        </p:nvSpPr>
        <p:spPr bwMode="auto">
          <a:xfrm>
            <a:off x="730250" y="4017963"/>
            <a:ext cx="18700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6D9F1281-7434-47C1-AF5F-3A8A60DD220F}" type="datetime'M''''''i''''l''''jø- ''''og Tra''''''''fik''''udva''lget'">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Miljø- og Trafikudvalget</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Rektangel 137">
            <a:extLst>
              <a:ext uri="{FF2B5EF4-FFF2-40B4-BE49-F238E27FC236}">
                <a16:creationId xmlns:a16="http://schemas.microsoft.com/office/drawing/2014/main" id="{3AD06FDC-C13A-735E-2850-9EE156A893EB}"/>
              </a:ext>
            </a:extLst>
          </p:cNvPr>
          <p:cNvSpPr/>
          <p:nvPr>
            <p:custDataLst>
              <p:tags r:id="rId22"/>
            </p:custDataLst>
          </p:nvPr>
        </p:nvSpPr>
        <p:spPr bwMode="auto">
          <a:xfrm>
            <a:off x="730250" y="4362450"/>
            <a:ext cx="33940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2E253218-FA00-4353-B108-6B45CF9F39C4}" type="datetime'Arbejds''mark''eds''-'''', Vækst''- ''og Udd''.-udval''get'''">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Arbejdsmarkeds-, Vækst- og Udd.-udvalget</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Rektangel 143">
            <a:extLst>
              <a:ext uri="{FF2B5EF4-FFF2-40B4-BE49-F238E27FC236}">
                <a16:creationId xmlns:a16="http://schemas.microsoft.com/office/drawing/2014/main" id="{BA7A4CDD-93B0-DCCF-3F7F-7F5294AE55F4}"/>
              </a:ext>
            </a:extLst>
          </p:cNvPr>
          <p:cNvSpPr/>
          <p:nvPr>
            <p:custDataLst>
              <p:tags r:id="rId23"/>
            </p:custDataLst>
          </p:nvPr>
        </p:nvSpPr>
        <p:spPr bwMode="auto">
          <a:xfrm>
            <a:off x="730250" y="4705350"/>
            <a:ext cx="29606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85B6AEB7-90D5-4041-8F72-29825859231F}" type="datetime'Sun''dh''''''eds''- og F''or''''ebyggel''sesudv''alg''e''t'''">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Sundheds- og Forebyggelsesudvalget</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Rektangel 149">
            <a:extLst>
              <a:ext uri="{FF2B5EF4-FFF2-40B4-BE49-F238E27FC236}">
                <a16:creationId xmlns:a16="http://schemas.microsoft.com/office/drawing/2014/main" id="{26F8A044-9F73-AEA2-E079-29C70220B326}"/>
              </a:ext>
            </a:extLst>
          </p:cNvPr>
          <p:cNvSpPr/>
          <p:nvPr>
            <p:custDataLst>
              <p:tags r:id="rId24"/>
            </p:custDataLst>
          </p:nvPr>
        </p:nvSpPr>
        <p:spPr bwMode="auto">
          <a:xfrm>
            <a:off x="730250" y="5049838"/>
            <a:ext cx="9398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F889AC3D-B5E0-4861-9DDA-92AC71945336}" type="datetime'M''a''''''g''''i''''''''''s''''''''''''''''''t''rat''e''''n'">
              <a:rPr kumimoji="0" lang="da-DK" altLang="en-US" sz="14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Magistraten</a:t>
            </a:fld>
            <a:endParaRPr kumimoji="0" lang="da-DK" sz="14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Rektangel 176">
            <a:extLst>
              <a:ext uri="{FF2B5EF4-FFF2-40B4-BE49-F238E27FC236}">
                <a16:creationId xmlns:a16="http://schemas.microsoft.com/office/drawing/2014/main" id="{D121E063-5877-6106-B475-195FF9DDC745}"/>
              </a:ext>
            </a:extLst>
          </p:cNvPr>
          <p:cNvSpPr/>
          <p:nvPr>
            <p:custDataLst>
              <p:tags r:id="rId25"/>
            </p:custDataLst>
          </p:nvPr>
        </p:nvSpPr>
        <p:spPr bwMode="gray">
          <a:xfrm>
            <a:off x="6643688" y="3341688"/>
            <a:ext cx="279400" cy="19208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fld id="{B36A1441-C864-45B4-98D1-8DB5E9CC8650}" type="datetime'''0'''''''''''''''''',''''''''''''''''''''''4'''''''">
              <a:rPr kumimoji="0" lang="da-DK" altLang="en-US" sz="14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4</a:t>
            </a:fld>
            <a:endParaRPr kumimoji="0" lang="da-DK" sz="14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Rektangel 178">
            <a:extLst>
              <a:ext uri="{FF2B5EF4-FFF2-40B4-BE49-F238E27FC236}">
                <a16:creationId xmlns:a16="http://schemas.microsoft.com/office/drawing/2014/main" id="{1EC54045-DA56-BA3F-ED14-CF192ED32CCC}"/>
              </a:ext>
            </a:extLst>
          </p:cNvPr>
          <p:cNvSpPr/>
          <p:nvPr>
            <p:custDataLst>
              <p:tags r:id="rId26"/>
            </p:custDataLst>
          </p:nvPr>
        </p:nvSpPr>
        <p:spPr bwMode="gray">
          <a:xfrm>
            <a:off x="7958138" y="4716463"/>
            <a:ext cx="279400" cy="19208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fld id="{83821F7B-F477-4495-AE6B-3BDE567C95F4}" type="datetime'''''''''''''''''''''''''0'',''''''5'''''''''''''''">
              <a:rPr kumimoji="0" lang="da-DK" altLang="en-US" sz="14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5</a:t>
            </a:fld>
            <a:endParaRPr kumimoji="0" lang="da-DK" sz="14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46429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31E902-308B-4A56-B65B-EBCA1DF517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A031E902-308B-4A56-B65B-EBCA1DF517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09378B8-0F6B-4A09-B455-ACF3DD019585}"/>
              </a:ext>
            </a:extLst>
          </p:cNvPr>
          <p:cNvSpPr>
            <a:spLocks noGrp="1"/>
          </p:cNvSpPr>
          <p:nvPr>
            <p:ph type="title"/>
          </p:nvPr>
        </p:nvSpPr>
        <p:spPr>
          <a:xfrm>
            <a:off x="623888" y="404665"/>
            <a:ext cx="10944224" cy="978729"/>
          </a:xfrm>
        </p:spPr>
        <p:txBody>
          <a:bodyPr vert="horz"/>
          <a:lstStyle/>
          <a:p>
            <a:r>
              <a:rPr lang="da-DK" dirty="0"/>
              <a:t>Der er besluttet </a:t>
            </a:r>
            <a:r>
              <a:rPr lang="da-DK" b="1" dirty="0">
                <a:solidFill>
                  <a:schemeClr val="accent1"/>
                </a:solidFill>
              </a:rPr>
              <a:t>udvidelser</a:t>
            </a:r>
            <a:r>
              <a:rPr lang="da-DK" dirty="0"/>
              <a:t> og </a:t>
            </a:r>
            <a:r>
              <a:rPr lang="da-DK" b="1" dirty="0">
                <a:solidFill>
                  <a:schemeClr val="accent1"/>
                </a:solidFill>
              </a:rPr>
              <a:t>besparelser </a:t>
            </a:r>
            <a:r>
              <a:rPr lang="da-DK" dirty="0">
                <a:solidFill>
                  <a:schemeClr val="tx1">
                    <a:lumMod val="85000"/>
                    <a:lumOff val="15000"/>
                  </a:schemeClr>
                </a:solidFill>
              </a:rPr>
              <a:t>som vil påvirke Børne- og Ungeområdet - Skole</a:t>
            </a:r>
            <a:endParaRPr lang="da-DK" dirty="0"/>
          </a:p>
        </p:txBody>
      </p:sp>
      <p:sp>
        <p:nvSpPr>
          <p:cNvPr id="2" name="Pladsholder til tekst 1">
            <a:extLst>
              <a:ext uri="{FF2B5EF4-FFF2-40B4-BE49-F238E27FC236}">
                <a16:creationId xmlns:a16="http://schemas.microsoft.com/office/drawing/2014/main" id="{F43EE6F3-6E1F-4BF3-9B51-4FA6D20595E3}"/>
              </a:ext>
            </a:extLst>
          </p:cNvPr>
          <p:cNvSpPr>
            <a:spLocks noGrp="1"/>
          </p:cNvSpPr>
          <p:nvPr>
            <p:ph type="body" sz="quarter" idx="13"/>
          </p:nvPr>
        </p:nvSpPr>
        <p:spPr/>
        <p:txBody>
          <a:bodyPr/>
          <a:lstStyle/>
          <a:p>
            <a:r>
              <a:rPr lang="da-DK"/>
              <a:t> </a:t>
            </a:r>
          </a:p>
        </p:txBody>
      </p:sp>
      <p:sp>
        <p:nvSpPr>
          <p:cNvPr id="3" name="Pladsholder til tekst 2">
            <a:extLst>
              <a:ext uri="{FF2B5EF4-FFF2-40B4-BE49-F238E27FC236}">
                <a16:creationId xmlns:a16="http://schemas.microsoft.com/office/drawing/2014/main" id="{ED17F615-2A0A-48A3-95AE-51E89CAF414B}"/>
              </a:ext>
            </a:extLst>
          </p:cNvPr>
          <p:cNvSpPr>
            <a:spLocks noGrp="1"/>
          </p:cNvSpPr>
          <p:nvPr>
            <p:ph type="body" sz="quarter" idx="14"/>
          </p:nvPr>
        </p:nvSpPr>
        <p:spPr/>
        <p:txBody>
          <a:bodyPr wrap="square" lIns="36000" tIns="45720" rIns="36000" bIns="45720" anchor="ctr"/>
          <a:lstStyle/>
          <a:p>
            <a:r>
              <a:rPr lang="da-DK">
                <a:cs typeface="Segoe UI"/>
              </a:rPr>
              <a:t> </a:t>
            </a:r>
            <a:endParaRPr lang="da-DK"/>
          </a:p>
        </p:txBody>
      </p:sp>
      <p:sp>
        <p:nvSpPr>
          <p:cNvPr id="5" name="Pladsholder til tekst 4">
            <a:extLst>
              <a:ext uri="{FF2B5EF4-FFF2-40B4-BE49-F238E27FC236}">
                <a16:creationId xmlns:a16="http://schemas.microsoft.com/office/drawing/2014/main" id="{0A3C21E5-7A4B-4BD0-9E03-239ADC000F87}"/>
              </a:ext>
            </a:extLst>
          </p:cNvPr>
          <p:cNvSpPr>
            <a:spLocks noGrp="1"/>
          </p:cNvSpPr>
          <p:nvPr>
            <p:ph type="body" sz="quarter" idx="15"/>
          </p:nvPr>
        </p:nvSpPr>
        <p:spPr/>
        <p:txBody>
          <a:bodyPr/>
          <a:lstStyle/>
          <a:p>
            <a:r>
              <a:rPr lang="da-DK"/>
              <a:t>Budget 2025</a:t>
            </a:r>
          </a:p>
        </p:txBody>
      </p:sp>
      <p:sp>
        <p:nvSpPr>
          <p:cNvPr id="10" name="Rektangel: afrundede hjørner 9">
            <a:extLst>
              <a:ext uri="{FF2B5EF4-FFF2-40B4-BE49-F238E27FC236}">
                <a16:creationId xmlns:a16="http://schemas.microsoft.com/office/drawing/2014/main" id="{7B24C6CE-B42E-5B0C-699B-67CFD382B333}"/>
              </a:ext>
            </a:extLst>
          </p:cNvPr>
          <p:cNvSpPr/>
          <p:nvPr/>
        </p:nvSpPr>
        <p:spPr>
          <a:xfrm flipH="1">
            <a:off x="730326" y="2941298"/>
            <a:ext cx="5133262" cy="3084115"/>
          </a:xfrm>
          <a:prstGeom prst="roundRect">
            <a:avLst>
              <a:gd name="adj" fmla="val 3289"/>
            </a:avLst>
          </a:prstGeom>
          <a:solidFill>
            <a:srgbClr val="E0DBC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1" rtlCol="0" anchor="ctr"/>
          <a:lstStyle/>
          <a:p>
            <a:pPr marL="285750" marR="0" lvl="0" indent="-285750"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Hurtigere indfasning af klassekvotient </a:t>
            </a:r>
          </a:p>
          <a:p>
            <a:pPr marL="285750" marR="0" lvl="0" indent="-285750"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Teknologiforståelse</a:t>
            </a:r>
          </a:p>
          <a:p>
            <a:pPr marL="285750" marR="0" lvl="0" indent="-285750" algn="l" defTabSz="914400" rtl="0" eaLnBrk="1" fontAlgn="auto" latinLnBrk="0" hangingPunct="1">
              <a:lnSpc>
                <a:spcPct val="100000"/>
              </a:lnSpc>
              <a:spcBef>
                <a:spcPts val="500"/>
              </a:spcBef>
              <a:spcAft>
                <a:spcPts val="500"/>
              </a:spcAft>
              <a:buClrTx/>
              <a:buSzTx/>
              <a:buFont typeface="Arial,Sans-Serif"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Færre skærme, flere bøger, mere leg </a:t>
            </a:r>
          </a:p>
          <a:p>
            <a:pPr marL="285750" marR="0" lvl="0" indent="-285750"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Etablering af skolemadsordning</a:t>
            </a:r>
          </a:p>
          <a:p>
            <a:pPr marL="285750" marR="0" lvl="0" indent="-285750" algn="l" defTabSz="914400" rtl="0" eaLnBrk="1" fontAlgn="auto" latinLnBrk="0" hangingPunct="1">
              <a:lnSpc>
                <a:spcPct val="100000"/>
              </a:lnSpc>
              <a:spcBef>
                <a:spcPts val="500"/>
              </a:spcBef>
              <a:spcAft>
                <a:spcPts val="500"/>
              </a:spcAft>
              <a:buClrTx/>
              <a:buSzTx/>
              <a:buFont typeface="Arial,Sans-Serif"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Haver til maver</a:t>
            </a:r>
          </a:p>
          <a:p>
            <a:pPr marL="285750" marR="0" lvl="0" indent="-285750" algn="l" defTabSz="914400" rtl="0" eaLnBrk="1" fontAlgn="auto" latinLnBrk="0" hangingPunct="1">
              <a:lnSpc>
                <a:spcPct val="100000"/>
              </a:lnSpc>
              <a:spcBef>
                <a:spcPts val="500"/>
              </a:spcBef>
              <a:spcAft>
                <a:spcPts val="500"/>
              </a:spcAft>
              <a:buClrTx/>
              <a:buSzTx/>
              <a:buFont typeface="Arial,Sans-Serif"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Skolekonkurrence</a:t>
            </a:r>
          </a:p>
          <a:p>
            <a:pPr marL="285750" marR="0" lvl="0" indent="-285750" algn="l" defTabSz="914400" rtl="0" eaLnBrk="1" fontAlgn="auto" latinLnBrk="0" hangingPunct="1">
              <a:lnSpc>
                <a:spcPct val="100000"/>
              </a:lnSpc>
              <a:spcBef>
                <a:spcPts val="500"/>
              </a:spcBef>
              <a:spcAft>
                <a:spcPts val="500"/>
              </a:spcAft>
              <a:buClrTx/>
              <a:buSzTx/>
              <a:buFont typeface="Arial,Sans-Serif"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Udvidelse af antallet af lejrskoleophold</a:t>
            </a:r>
          </a:p>
          <a:p>
            <a:pPr marL="285750" marR="0" lvl="0" indent="-285750" algn="l" defTabSz="914400" rtl="0" eaLnBrk="1" fontAlgn="auto" latinLnBrk="0" hangingPunct="1">
              <a:lnSpc>
                <a:spcPct val="100000"/>
              </a:lnSpc>
              <a:spcBef>
                <a:spcPts val="500"/>
              </a:spcBef>
              <a:spcAft>
                <a:spcPts val="500"/>
              </a:spcAft>
              <a:buClrTx/>
              <a:buSzTx/>
              <a:buFont typeface="Arial,Sans-Serif"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Renovering af skolegården på Lollandsvej</a:t>
            </a:r>
          </a:p>
          <a:p>
            <a:pPr marL="285750" marR="0" lvl="0" indent="-285750" algn="l" defTabSz="914400" rtl="0" eaLnBrk="1" fontAlgn="auto" latinLnBrk="0" hangingPunct="1">
              <a:lnSpc>
                <a:spcPct val="100000"/>
              </a:lnSpc>
              <a:spcBef>
                <a:spcPts val="500"/>
              </a:spcBef>
              <a:spcAft>
                <a:spcPts val="500"/>
              </a:spcAft>
              <a:buClrTx/>
              <a:buSzTx/>
              <a:buFont typeface="Arial,Sans-Serif"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SSP – Task Force Junior</a:t>
            </a:r>
          </a:p>
        </p:txBody>
      </p:sp>
      <p:sp>
        <p:nvSpPr>
          <p:cNvPr id="11" name="Rektangel: afrundede hjørner 10">
            <a:extLst>
              <a:ext uri="{FF2B5EF4-FFF2-40B4-BE49-F238E27FC236}">
                <a16:creationId xmlns:a16="http://schemas.microsoft.com/office/drawing/2014/main" id="{06615330-2528-5AB4-5951-9569064A9193}"/>
              </a:ext>
            </a:extLst>
          </p:cNvPr>
          <p:cNvSpPr/>
          <p:nvPr/>
        </p:nvSpPr>
        <p:spPr>
          <a:xfrm flipH="1">
            <a:off x="730327" y="2264439"/>
            <a:ext cx="5133263" cy="523220"/>
          </a:xfrm>
          <a:prstGeom prst="roundRect">
            <a:avLst>
              <a:gd name="adj" fmla="val 1992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white"/>
                </a:solidFill>
                <a:effectLst/>
                <a:uLnTx/>
                <a:uFillTx/>
                <a:latin typeface="Segoe UI"/>
                <a:ea typeface="+mn-ea"/>
                <a:cs typeface="+mn-cs"/>
              </a:rPr>
              <a:t>Udvidelser der påvirker BUO</a:t>
            </a:r>
            <a:endParaRPr kumimoji="0" lang="da-DK" sz="1600" b="1" i="0" u="none" strike="noStrike" kern="1200" cap="none" spc="0" normalizeH="0" baseline="30000" noProof="0">
              <a:ln>
                <a:noFill/>
              </a:ln>
              <a:solidFill>
                <a:prstClr val="white"/>
              </a:solidFill>
              <a:effectLst/>
              <a:uLnTx/>
              <a:uFillTx/>
              <a:latin typeface="Segoe UI"/>
              <a:ea typeface="+mn-ea"/>
              <a:cs typeface="+mn-cs"/>
            </a:endParaRPr>
          </a:p>
        </p:txBody>
      </p:sp>
      <p:sp>
        <p:nvSpPr>
          <p:cNvPr id="6" name="Rektangel: afrundede hjørner 5">
            <a:extLst>
              <a:ext uri="{FF2B5EF4-FFF2-40B4-BE49-F238E27FC236}">
                <a16:creationId xmlns:a16="http://schemas.microsoft.com/office/drawing/2014/main" id="{5CD1CBBD-88D7-03BB-70AA-BF0D848948FD}"/>
              </a:ext>
            </a:extLst>
          </p:cNvPr>
          <p:cNvSpPr/>
          <p:nvPr/>
        </p:nvSpPr>
        <p:spPr>
          <a:xfrm flipH="1">
            <a:off x="6216726" y="2941298"/>
            <a:ext cx="5133262" cy="3084115"/>
          </a:xfrm>
          <a:prstGeom prst="roundRect">
            <a:avLst>
              <a:gd name="adj" fmla="val 3289"/>
            </a:avLst>
          </a:prstGeom>
          <a:solidFill>
            <a:srgbClr val="E0DBC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1" rtlCol="0" anchor="ctr"/>
          <a:lstStyle/>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Ændret personalesammensætning i Understøttende undervisning (halv effekt)</a:t>
            </a:r>
          </a:p>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Reduktion i administrationen i Fællesrådgivningen </a:t>
            </a:r>
          </a:p>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prstClr val="black"/>
                </a:solidFill>
                <a:effectLst/>
                <a:uLnTx/>
                <a:uFillTx/>
                <a:latin typeface="Segoe UI"/>
                <a:ea typeface="+mn-ea"/>
                <a:cs typeface="Segoe UI"/>
              </a:rPr>
              <a:t>Omprioritering af den centrale IKT-pulje  </a:t>
            </a:r>
            <a:endParaRPr kumimoji="0" lang="da-DK" sz="1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Rektangel: afrundede hjørner 6">
            <a:extLst>
              <a:ext uri="{FF2B5EF4-FFF2-40B4-BE49-F238E27FC236}">
                <a16:creationId xmlns:a16="http://schemas.microsoft.com/office/drawing/2014/main" id="{55B2D216-DCE8-8A14-4CBB-5D3CE2C2190D}"/>
              </a:ext>
            </a:extLst>
          </p:cNvPr>
          <p:cNvSpPr/>
          <p:nvPr/>
        </p:nvSpPr>
        <p:spPr>
          <a:xfrm flipH="1">
            <a:off x="6216727" y="2264439"/>
            <a:ext cx="5133263" cy="523220"/>
          </a:xfrm>
          <a:prstGeom prst="roundRect">
            <a:avLst>
              <a:gd name="adj" fmla="val 1992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white"/>
                </a:solidFill>
                <a:effectLst/>
                <a:uLnTx/>
                <a:uFillTx/>
                <a:latin typeface="Segoe UI"/>
                <a:ea typeface="+mn-ea"/>
                <a:cs typeface="+mn-cs"/>
              </a:rPr>
              <a:t>Besparelsesforslag der påvirker BUO</a:t>
            </a:r>
            <a:endParaRPr kumimoji="0" lang="da-DK" sz="1600" b="1" i="0" u="none" strike="noStrike" kern="1200" cap="none" spc="0" normalizeH="0" baseline="30000" noProof="0">
              <a:ln>
                <a:noFill/>
              </a:ln>
              <a:solidFill>
                <a:prstClr val="white"/>
              </a:solidFill>
              <a:effectLst/>
              <a:uLnTx/>
              <a:uFillTx/>
              <a:latin typeface="Segoe UI"/>
              <a:ea typeface="+mn-ea"/>
              <a:cs typeface="+mn-cs"/>
            </a:endParaRPr>
          </a:p>
        </p:txBody>
      </p:sp>
      <p:sp>
        <p:nvSpPr>
          <p:cNvPr id="13" name="Pladsholder til tekst 12">
            <a:extLst>
              <a:ext uri="{FF2B5EF4-FFF2-40B4-BE49-F238E27FC236}">
                <a16:creationId xmlns:a16="http://schemas.microsoft.com/office/drawing/2014/main" id="{09E0E7E0-A595-49B2-916C-4D152D2379BF}"/>
              </a:ext>
            </a:extLst>
          </p:cNvPr>
          <p:cNvSpPr>
            <a:spLocks noGrp="1"/>
          </p:cNvSpPr>
          <p:nvPr>
            <p:ph type="body" sz="quarter" idx="12"/>
          </p:nvPr>
        </p:nvSpPr>
        <p:spPr/>
        <p:txBody>
          <a:bodyPr/>
          <a:lstStyle/>
          <a:p>
            <a:endParaRPr lang="da-DK"/>
          </a:p>
        </p:txBody>
      </p:sp>
    </p:spTree>
    <p:extLst>
      <p:ext uri="{BB962C8B-B14F-4D97-AF65-F5344CB8AC3E}">
        <p14:creationId xmlns:p14="http://schemas.microsoft.com/office/powerpoint/2010/main" val="425982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31E902-308B-4A56-B65B-EBCA1DF517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A031E902-308B-4A56-B65B-EBCA1DF517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09378B8-0F6B-4A09-B455-ACF3DD019585}"/>
              </a:ext>
            </a:extLst>
          </p:cNvPr>
          <p:cNvSpPr>
            <a:spLocks noGrp="1"/>
          </p:cNvSpPr>
          <p:nvPr>
            <p:ph type="title"/>
          </p:nvPr>
        </p:nvSpPr>
        <p:spPr>
          <a:xfrm>
            <a:off x="623888" y="404665"/>
            <a:ext cx="10944224" cy="978729"/>
          </a:xfrm>
        </p:spPr>
        <p:txBody>
          <a:bodyPr vert="horz"/>
          <a:lstStyle/>
          <a:p>
            <a:r>
              <a:rPr lang="da-DK" dirty="0"/>
              <a:t>Der er besluttet </a:t>
            </a:r>
            <a:r>
              <a:rPr lang="da-DK" b="1" dirty="0">
                <a:solidFill>
                  <a:schemeClr val="accent1"/>
                </a:solidFill>
              </a:rPr>
              <a:t>udvidelser</a:t>
            </a:r>
            <a:r>
              <a:rPr lang="da-DK" dirty="0"/>
              <a:t> og </a:t>
            </a:r>
            <a:r>
              <a:rPr lang="da-DK" b="1" dirty="0">
                <a:solidFill>
                  <a:schemeClr val="accent1"/>
                </a:solidFill>
              </a:rPr>
              <a:t>besparelser </a:t>
            </a:r>
            <a:r>
              <a:rPr lang="da-DK" dirty="0">
                <a:solidFill>
                  <a:schemeClr val="tx1">
                    <a:lumMod val="85000"/>
                    <a:lumOff val="15000"/>
                  </a:schemeClr>
                </a:solidFill>
              </a:rPr>
              <a:t>som vil påvirke Børne- og Ungeområdet - Dagtilbud</a:t>
            </a:r>
            <a:endParaRPr lang="da-DK" dirty="0"/>
          </a:p>
        </p:txBody>
      </p:sp>
      <p:sp>
        <p:nvSpPr>
          <p:cNvPr id="2" name="Pladsholder til tekst 1">
            <a:extLst>
              <a:ext uri="{FF2B5EF4-FFF2-40B4-BE49-F238E27FC236}">
                <a16:creationId xmlns:a16="http://schemas.microsoft.com/office/drawing/2014/main" id="{F43EE6F3-6E1F-4BF3-9B51-4FA6D20595E3}"/>
              </a:ext>
            </a:extLst>
          </p:cNvPr>
          <p:cNvSpPr>
            <a:spLocks noGrp="1"/>
          </p:cNvSpPr>
          <p:nvPr>
            <p:ph type="body" sz="quarter" idx="13"/>
          </p:nvPr>
        </p:nvSpPr>
        <p:spPr/>
        <p:txBody>
          <a:bodyPr/>
          <a:lstStyle/>
          <a:p>
            <a:r>
              <a:rPr lang="da-DK"/>
              <a:t> </a:t>
            </a:r>
          </a:p>
        </p:txBody>
      </p:sp>
      <p:sp>
        <p:nvSpPr>
          <p:cNvPr id="3" name="Pladsholder til tekst 2">
            <a:extLst>
              <a:ext uri="{FF2B5EF4-FFF2-40B4-BE49-F238E27FC236}">
                <a16:creationId xmlns:a16="http://schemas.microsoft.com/office/drawing/2014/main" id="{ED17F615-2A0A-48A3-95AE-51E89CAF414B}"/>
              </a:ext>
            </a:extLst>
          </p:cNvPr>
          <p:cNvSpPr>
            <a:spLocks noGrp="1"/>
          </p:cNvSpPr>
          <p:nvPr>
            <p:ph type="body" sz="quarter" idx="14"/>
          </p:nvPr>
        </p:nvSpPr>
        <p:spPr/>
        <p:txBody>
          <a:bodyPr wrap="square" lIns="36000" tIns="45720" rIns="36000" bIns="45720" anchor="ctr"/>
          <a:lstStyle/>
          <a:p>
            <a:r>
              <a:rPr lang="da-DK">
                <a:cs typeface="Segoe UI"/>
              </a:rPr>
              <a:t> </a:t>
            </a:r>
            <a:endParaRPr lang="da-DK"/>
          </a:p>
        </p:txBody>
      </p:sp>
      <p:sp>
        <p:nvSpPr>
          <p:cNvPr id="5" name="Pladsholder til tekst 4">
            <a:extLst>
              <a:ext uri="{FF2B5EF4-FFF2-40B4-BE49-F238E27FC236}">
                <a16:creationId xmlns:a16="http://schemas.microsoft.com/office/drawing/2014/main" id="{0A3C21E5-7A4B-4BD0-9E03-239ADC000F87}"/>
              </a:ext>
            </a:extLst>
          </p:cNvPr>
          <p:cNvSpPr>
            <a:spLocks noGrp="1"/>
          </p:cNvSpPr>
          <p:nvPr>
            <p:ph type="body" sz="quarter" idx="15"/>
          </p:nvPr>
        </p:nvSpPr>
        <p:spPr/>
        <p:txBody>
          <a:bodyPr/>
          <a:lstStyle/>
          <a:p>
            <a:r>
              <a:rPr lang="da-DK"/>
              <a:t>Budget 2025</a:t>
            </a:r>
          </a:p>
        </p:txBody>
      </p:sp>
      <p:sp>
        <p:nvSpPr>
          <p:cNvPr id="10" name="Rektangel: afrundede hjørner 9">
            <a:extLst>
              <a:ext uri="{FF2B5EF4-FFF2-40B4-BE49-F238E27FC236}">
                <a16:creationId xmlns:a16="http://schemas.microsoft.com/office/drawing/2014/main" id="{7B24C6CE-B42E-5B0C-699B-67CFD382B333}"/>
              </a:ext>
            </a:extLst>
          </p:cNvPr>
          <p:cNvSpPr/>
          <p:nvPr/>
        </p:nvSpPr>
        <p:spPr>
          <a:xfrm flipH="1">
            <a:off x="730326" y="2941298"/>
            <a:ext cx="5133262" cy="3084115"/>
          </a:xfrm>
          <a:prstGeom prst="roundRect">
            <a:avLst>
              <a:gd name="adj" fmla="val 3289"/>
            </a:avLst>
          </a:prstGeom>
          <a:solidFill>
            <a:srgbClr val="E0DBC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1" rtlCol="0" anchor="ctr"/>
          <a:lstStyle/>
          <a:p>
            <a:pPr marL="285750" marR="0" lvl="0" indent="-285750"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Kapacitets- og kompetenceopbygning i dagtilbud </a:t>
            </a:r>
          </a:p>
          <a:p>
            <a:pPr marL="285750" marR="0" lvl="0" indent="-285750"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Tilbagerulning - bleer i dagtilbud</a:t>
            </a:r>
          </a:p>
          <a:p>
            <a:pPr marL="285750" marR="0" lvl="0" indent="-285750"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Naturlegepladser i fire dagtilbud</a:t>
            </a:r>
          </a:p>
          <a:p>
            <a:pPr marL="285750" marR="0" lvl="0" indent="-285750"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Adils og Frederiksvej (anlægsplanen)</a:t>
            </a:r>
          </a:p>
          <a:p>
            <a:pPr marL="285750" marR="0" lvl="0" indent="-285750"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Forhøjelse af legepladspuljen (anlægsplanen)</a:t>
            </a:r>
          </a:p>
        </p:txBody>
      </p:sp>
      <p:sp>
        <p:nvSpPr>
          <p:cNvPr id="11" name="Rektangel: afrundede hjørner 10">
            <a:extLst>
              <a:ext uri="{FF2B5EF4-FFF2-40B4-BE49-F238E27FC236}">
                <a16:creationId xmlns:a16="http://schemas.microsoft.com/office/drawing/2014/main" id="{06615330-2528-5AB4-5951-9569064A9193}"/>
              </a:ext>
            </a:extLst>
          </p:cNvPr>
          <p:cNvSpPr/>
          <p:nvPr/>
        </p:nvSpPr>
        <p:spPr>
          <a:xfrm flipH="1">
            <a:off x="730327" y="2264439"/>
            <a:ext cx="5133263" cy="523220"/>
          </a:xfrm>
          <a:prstGeom prst="roundRect">
            <a:avLst>
              <a:gd name="adj" fmla="val 1992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white"/>
                </a:solidFill>
                <a:effectLst/>
                <a:uLnTx/>
                <a:uFillTx/>
                <a:latin typeface="Segoe UI"/>
                <a:ea typeface="+mn-ea"/>
                <a:cs typeface="+mn-cs"/>
              </a:rPr>
              <a:t>Udvidelser der påvirker BUO</a:t>
            </a:r>
            <a:endParaRPr kumimoji="0" lang="da-DK" sz="1600" b="1" i="0" u="none" strike="noStrike" kern="1200" cap="none" spc="0" normalizeH="0" baseline="30000" noProof="0">
              <a:ln>
                <a:noFill/>
              </a:ln>
              <a:solidFill>
                <a:prstClr val="white"/>
              </a:solidFill>
              <a:effectLst/>
              <a:uLnTx/>
              <a:uFillTx/>
              <a:latin typeface="Segoe UI"/>
              <a:ea typeface="+mn-ea"/>
              <a:cs typeface="+mn-cs"/>
            </a:endParaRPr>
          </a:p>
        </p:txBody>
      </p:sp>
      <p:sp>
        <p:nvSpPr>
          <p:cNvPr id="6" name="Rektangel: afrundede hjørner 5">
            <a:extLst>
              <a:ext uri="{FF2B5EF4-FFF2-40B4-BE49-F238E27FC236}">
                <a16:creationId xmlns:a16="http://schemas.microsoft.com/office/drawing/2014/main" id="{5CD1CBBD-88D7-03BB-70AA-BF0D848948FD}"/>
              </a:ext>
            </a:extLst>
          </p:cNvPr>
          <p:cNvSpPr/>
          <p:nvPr/>
        </p:nvSpPr>
        <p:spPr>
          <a:xfrm flipH="1">
            <a:off x="6216726" y="2941298"/>
            <a:ext cx="5133262" cy="3084115"/>
          </a:xfrm>
          <a:prstGeom prst="roundRect">
            <a:avLst>
              <a:gd name="adj" fmla="val 3289"/>
            </a:avLst>
          </a:prstGeom>
          <a:solidFill>
            <a:srgbClr val="E0DBC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1" rtlCol="0" anchor="ctr"/>
          <a:lstStyle/>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Tilpasning af dagplejens administration</a:t>
            </a:r>
          </a:p>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Omorganisering af ejendomsservice i dagtilbud</a:t>
            </a:r>
          </a:p>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Reduktion i budget til uddannelse og kurser i dagtilbud</a:t>
            </a:r>
          </a:p>
        </p:txBody>
      </p:sp>
      <p:sp>
        <p:nvSpPr>
          <p:cNvPr id="7" name="Rektangel: afrundede hjørner 6">
            <a:extLst>
              <a:ext uri="{FF2B5EF4-FFF2-40B4-BE49-F238E27FC236}">
                <a16:creationId xmlns:a16="http://schemas.microsoft.com/office/drawing/2014/main" id="{55B2D216-DCE8-8A14-4CBB-5D3CE2C2190D}"/>
              </a:ext>
            </a:extLst>
          </p:cNvPr>
          <p:cNvSpPr/>
          <p:nvPr/>
        </p:nvSpPr>
        <p:spPr>
          <a:xfrm flipH="1">
            <a:off x="6216727" y="2264439"/>
            <a:ext cx="5133263" cy="523220"/>
          </a:xfrm>
          <a:prstGeom prst="roundRect">
            <a:avLst>
              <a:gd name="adj" fmla="val 1992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white"/>
                </a:solidFill>
                <a:effectLst/>
                <a:uLnTx/>
                <a:uFillTx/>
                <a:latin typeface="Segoe UI"/>
                <a:ea typeface="+mn-ea"/>
                <a:cs typeface="+mn-cs"/>
              </a:rPr>
              <a:t>Besparelsesforslag der påvirker BUO</a:t>
            </a:r>
            <a:endParaRPr kumimoji="0" lang="da-DK" sz="1600" b="1" i="0" u="none" strike="noStrike" kern="1200" cap="none" spc="0" normalizeH="0" baseline="30000" noProof="0">
              <a:ln>
                <a:noFill/>
              </a:ln>
              <a:solidFill>
                <a:prstClr val="white"/>
              </a:solidFill>
              <a:effectLst/>
              <a:uLnTx/>
              <a:uFillTx/>
              <a:latin typeface="Segoe UI"/>
              <a:ea typeface="+mn-ea"/>
              <a:cs typeface="+mn-cs"/>
            </a:endParaRPr>
          </a:p>
        </p:txBody>
      </p:sp>
      <p:sp>
        <p:nvSpPr>
          <p:cNvPr id="13" name="Pladsholder til tekst 12">
            <a:extLst>
              <a:ext uri="{FF2B5EF4-FFF2-40B4-BE49-F238E27FC236}">
                <a16:creationId xmlns:a16="http://schemas.microsoft.com/office/drawing/2014/main" id="{D5BDB22A-C34D-4BA9-B8CD-C289FF5B91C3}"/>
              </a:ext>
            </a:extLst>
          </p:cNvPr>
          <p:cNvSpPr>
            <a:spLocks noGrp="1"/>
          </p:cNvSpPr>
          <p:nvPr>
            <p:ph type="body" sz="quarter" idx="12"/>
          </p:nvPr>
        </p:nvSpPr>
        <p:spPr/>
        <p:txBody>
          <a:bodyPr/>
          <a:lstStyle/>
          <a:p>
            <a:endParaRPr lang="da-DK"/>
          </a:p>
        </p:txBody>
      </p:sp>
    </p:spTree>
    <p:extLst>
      <p:ext uri="{BB962C8B-B14F-4D97-AF65-F5344CB8AC3E}">
        <p14:creationId xmlns:p14="http://schemas.microsoft.com/office/powerpoint/2010/main" val="25960772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31E902-308B-4A56-B65B-EBCA1DF517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A031E902-308B-4A56-B65B-EBCA1DF517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09378B8-0F6B-4A09-B455-ACF3DD019585}"/>
              </a:ext>
            </a:extLst>
          </p:cNvPr>
          <p:cNvSpPr>
            <a:spLocks noGrp="1"/>
          </p:cNvSpPr>
          <p:nvPr>
            <p:ph type="title"/>
          </p:nvPr>
        </p:nvSpPr>
        <p:spPr>
          <a:xfrm>
            <a:off x="623888" y="404665"/>
            <a:ext cx="10944224" cy="978729"/>
          </a:xfrm>
        </p:spPr>
        <p:txBody>
          <a:bodyPr vert="horz"/>
          <a:lstStyle/>
          <a:p>
            <a:r>
              <a:rPr lang="da-DK" dirty="0"/>
              <a:t>Der er besluttet </a:t>
            </a:r>
            <a:r>
              <a:rPr lang="da-DK" b="1" dirty="0">
                <a:solidFill>
                  <a:schemeClr val="accent1"/>
                </a:solidFill>
              </a:rPr>
              <a:t>udvidelser</a:t>
            </a:r>
            <a:r>
              <a:rPr lang="da-DK" dirty="0"/>
              <a:t> og </a:t>
            </a:r>
            <a:r>
              <a:rPr lang="da-DK" b="1" dirty="0">
                <a:solidFill>
                  <a:schemeClr val="accent1"/>
                </a:solidFill>
              </a:rPr>
              <a:t>besparelser </a:t>
            </a:r>
            <a:r>
              <a:rPr lang="da-DK" dirty="0">
                <a:solidFill>
                  <a:schemeClr val="tx1">
                    <a:lumMod val="85000"/>
                    <a:lumOff val="15000"/>
                  </a:schemeClr>
                </a:solidFill>
              </a:rPr>
              <a:t>som vil påvirke Børne- og Ungeområdet – Tværgående BUO </a:t>
            </a:r>
            <a:endParaRPr lang="da-DK" dirty="0"/>
          </a:p>
        </p:txBody>
      </p:sp>
      <p:sp>
        <p:nvSpPr>
          <p:cNvPr id="2" name="Pladsholder til tekst 1">
            <a:extLst>
              <a:ext uri="{FF2B5EF4-FFF2-40B4-BE49-F238E27FC236}">
                <a16:creationId xmlns:a16="http://schemas.microsoft.com/office/drawing/2014/main" id="{F43EE6F3-6E1F-4BF3-9B51-4FA6D20595E3}"/>
              </a:ext>
            </a:extLst>
          </p:cNvPr>
          <p:cNvSpPr>
            <a:spLocks noGrp="1"/>
          </p:cNvSpPr>
          <p:nvPr>
            <p:ph type="body" sz="quarter" idx="13"/>
          </p:nvPr>
        </p:nvSpPr>
        <p:spPr/>
        <p:txBody>
          <a:bodyPr/>
          <a:lstStyle/>
          <a:p>
            <a:r>
              <a:rPr lang="da-DK"/>
              <a:t> </a:t>
            </a:r>
          </a:p>
        </p:txBody>
      </p:sp>
      <p:sp>
        <p:nvSpPr>
          <p:cNvPr id="3" name="Pladsholder til tekst 2">
            <a:extLst>
              <a:ext uri="{FF2B5EF4-FFF2-40B4-BE49-F238E27FC236}">
                <a16:creationId xmlns:a16="http://schemas.microsoft.com/office/drawing/2014/main" id="{ED17F615-2A0A-48A3-95AE-51E89CAF414B}"/>
              </a:ext>
            </a:extLst>
          </p:cNvPr>
          <p:cNvSpPr>
            <a:spLocks noGrp="1"/>
          </p:cNvSpPr>
          <p:nvPr>
            <p:ph type="body" sz="quarter" idx="14"/>
          </p:nvPr>
        </p:nvSpPr>
        <p:spPr/>
        <p:txBody>
          <a:bodyPr wrap="square" lIns="36000" tIns="45720" rIns="36000" bIns="45720" anchor="ctr"/>
          <a:lstStyle/>
          <a:p>
            <a:r>
              <a:rPr lang="da-DK">
                <a:cs typeface="Segoe UI"/>
              </a:rPr>
              <a:t> </a:t>
            </a:r>
            <a:endParaRPr lang="da-DK"/>
          </a:p>
        </p:txBody>
      </p:sp>
      <p:sp>
        <p:nvSpPr>
          <p:cNvPr id="5" name="Pladsholder til tekst 4">
            <a:extLst>
              <a:ext uri="{FF2B5EF4-FFF2-40B4-BE49-F238E27FC236}">
                <a16:creationId xmlns:a16="http://schemas.microsoft.com/office/drawing/2014/main" id="{0A3C21E5-7A4B-4BD0-9E03-239ADC000F87}"/>
              </a:ext>
            </a:extLst>
          </p:cNvPr>
          <p:cNvSpPr>
            <a:spLocks noGrp="1"/>
          </p:cNvSpPr>
          <p:nvPr>
            <p:ph type="body" sz="quarter" idx="15"/>
          </p:nvPr>
        </p:nvSpPr>
        <p:spPr/>
        <p:txBody>
          <a:bodyPr/>
          <a:lstStyle/>
          <a:p>
            <a:r>
              <a:rPr lang="da-DK"/>
              <a:t>Budget 2025</a:t>
            </a:r>
          </a:p>
        </p:txBody>
      </p:sp>
      <p:sp>
        <p:nvSpPr>
          <p:cNvPr id="10" name="Rektangel: afrundede hjørner 9">
            <a:extLst>
              <a:ext uri="{FF2B5EF4-FFF2-40B4-BE49-F238E27FC236}">
                <a16:creationId xmlns:a16="http://schemas.microsoft.com/office/drawing/2014/main" id="{7B24C6CE-B42E-5B0C-699B-67CFD382B333}"/>
              </a:ext>
            </a:extLst>
          </p:cNvPr>
          <p:cNvSpPr/>
          <p:nvPr/>
        </p:nvSpPr>
        <p:spPr>
          <a:xfrm flipH="1">
            <a:off x="730326" y="2941298"/>
            <a:ext cx="5133262" cy="3084115"/>
          </a:xfrm>
          <a:prstGeom prst="roundRect">
            <a:avLst>
              <a:gd name="adj" fmla="val 3289"/>
            </a:avLst>
          </a:prstGeom>
          <a:solidFill>
            <a:srgbClr val="E0DBC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1" rtlCol="0" anchor="ctr"/>
          <a:lstStyle/>
          <a:p>
            <a:pPr marL="285750" marR="0" lvl="0" indent="-285750" algn="l" defTabSz="914400" rtl="0" eaLnBrk="1" fontAlgn="auto" latinLnBrk="0" hangingPunct="1">
              <a:lnSpc>
                <a:spcPct val="100000"/>
              </a:lnSpc>
              <a:spcBef>
                <a:spcPts val="500"/>
              </a:spcBef>
              <a:spcAft>
                <a:spcPts val="500"/>
              </a:spcAft>
              <a:buClrTx/>
              <a:buSzTx/>
              <a:buFont typeface="Arial,Sans-Serif"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Sammen om børn og unges trivsel (proces)</a:t>
            </a:r>
          </a:p>
          <a:p>
            <a:pPr marL="285750" marR="0" lvl="0" indent="-285750" algn="l" defTabSz="914400" rtl="0" eaLnBrk="1" fontAlgn="auto" latinLnBrk="0" hangingPunct="1">
              <a:lnSpc>
                <a:spcPct val="100000"/>
              </a:lnSpc>
              <a:spcBef>
                <a:spcPts val="500"/>
              </a:spcBef>
              <a:spcAft>
                <a:spcPts val="500"/>
              </a:spcAft>
              <a:buClrTx/>
              <a:buSzTx/>
              <a:buFont typeface="Arial,Sans-Serif"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Forlængelse af kampagne vedr. dagtilbud og frit skolevalg </a:t>
            </a: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11" name="Rektangel: afrundede hjørner 10">
            <a:extLst>
              <a:ext uri="{FF2B5EF4-FFF2-40B4-BE49-F238E27FC236}">
                <a16:creationId xmlns:a16="http://schemas.microsoft.com/office/drawing/2014/main" id="{06615330-2528-5AB4-5951-9569064A9193}"/>
              </a:ext>
            </a:extLst>
          </p:cNvPr>
          <p:cNvSpPr/>
          <p:nvPr/>
        </p:nvSpPr>
        <p:spPr>
          <a:xfrm flipH="1">
            <a:off x="730327" y="2264439"/>
            <a:ext cx="5133263" cy="523220"/>
          </a:xfrm>
          <a:prstGeom prst="roundRect">
            <a:avLst>
              <a:gd name="adj" fmla="val 1992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white"/>
                </a:solidFill>
                <a:effectLst/>
                <a:uLnTx/>
                <a:uFillTx/>
                <a:latin typeface="Segoe UI"/>
                <a:ea typeface="+mn-ea"/>
                <a:cs typeface="+mn-cs"/>
              </a:rPr>
              <a:t>Udvidelser der påvirker BUO</a:t>
            </a:r>
            <a:endParaRPr kumimoji="0" lang="da-DK" sz="1600" b="1" i="0" u="none" strike="noStrike" kern="1200" cap="none" spc="0" normalizeH="0" baseline="30000" noProof="0">
              <a:ln>
                <a:noFill/>
              </a:ln>
              <a:solidFill>
                <a:prstClr val="white"/>
              </a:solidFill>
              <a:effectLst/>
              <a:uLnTx/>
              <a:uFillTx/>
              <a:latin typeface="Segoe UI"/>
              <a:ea typeface="+mn-ea"/>
              <a:cs typeface="+mn-cs"/>
            </a:endParaRPr>
          </a:p>
        </p:txBody>
      </p:sp>
      <p:sp>
        <p:nvSpPr>
          <p:cNvPr id="6" name="Rektangel: afrundede hjørner 5">
            <a:extLst>
              <a:ext uri="{FF2B5EF4-FFF2-40B4-BE49-F238E27FC236}">
                <a16:creationId xmlns:a16="http://schemas.microsoft.com/office/drawing/2014/main" id="{5CD1CBBD-88D7-03BB-70AA-BF0D848948FD}"/>
              </a:ext>
            </a:extLst>
          </p:cNvPr>
          <p:cNvSpPr/>
          <p:nvPr/>
        </p:nvSpPr>
        <p:spPr>
          <a:xfrm flipH="1">
            <a:off x="6216726" y="2941298"/>
            <a:ext cx="5133262" cy="3084115"/>
          </a:xfrm>
          <a:prstGeom prst="roundRect">
            <a:avLst>
              <a:gd name="adj" fmla="val 3289"/>
            </a:avLst>
          </a:prstGeom>
          <a:solidFill>
            <a:srgbClr val="E0DBC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1" rtlCol="0" anchor="ctr"/>
          <a:lstStyle/>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Besparelse på administrationen</a:t>
            </a:r>
          </a:p>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Fastholdelse af rammebesparelse på 24-niveau (fra 2026 kun halv effekt ift. forslaget)</a:t>
            </a:r>
          </a:p>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Flytning af Fællesrådgivningen og Socialtilsynet (udsat et år)</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Segoe UI"/>
                <a:ea typeface="+mn-ea"/>
                <a:cs typeface="Segoe UI"/>
              </a:rPr>
              <a:t> </a:t>
            </a:r>
          </a:p>
        </p:txBody>
      </p:sp>
      <p:sp>
        <p:nvSpPr>
          <p:cNvPr id="7" name="Rektangel: afrundede hjørner 6">
            <a:extLst>
              <a:ext uri="{FF2B5EF4-FFF2-40B4-BE49-F238E27FC236}">
                <a16:creationId xmlns:a16="http://schemas.microsoft.com/office/drawing/2014/main" id="{55B2D216-DCE8-8A14-4CBB-5D3CE2C2190D}"/>
              </a:ext>
            </a:extLst>
          </p:cNvPr>
          <p:cNvSpPr/>
          <p:nvPr/>
        </p:nvSpPr>
        <p:spPr>
          <a:xfrm flipH="1">
            <a:off x="6216727" y="2264439"/>
            <a:ext cx="5133263" cy="523220"/>
          </a:xfrm>
          <a:prstGeom prst="roundRect">
            <a:avLst>
              <a:gd name="adj" fmla="val 1992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white"/>
                </a:solidFill>
                <a:effectLst/>
                <a:uLnTx/>
                <a:uFillTx/>
                <a:latin typeface="Segoe UI"/>
                <a:ea typeface="+mn-ea"/>
                <a:cs typeface="+mn-cs"/>
              </a:rPr>
              <a:t>Besparelsesforslag der påvirker BUO</a:t>
            </a:r>
            <a:endParaRPr kumimoji="0" lang="da-DK" sz="1600" b="1" i="0" u="none" strike="noStrike" kern="1200" cap="none" spc="0" normalizeH="0" baseline="30000" noProof="0">
              <a:ln>
                <a:noFill/>
              </a:ln>
              <a:solidFill>
                <a:prstClr val="white"/>
              </a:solidFill>
              <a:effectLst/>
              <a:uLnTx/>
              <a:uFillTx/>
              <a:latin typeface="Segoe UI"/>
              <a:ea typeface="+mn-ea"/>
              <a:cs typeface="+mn-cs"/>
            </a:endParaRPr>
          </a:p>
        </p:txBody>
      </p:sp>
      <p:sp>
        <p:nvSpPr>
          <p:cNvPr id="13" name="Pladsholder til tekst 12">
            <a:extLst>
              <a:ext uri="{FF2B5EF4-FFF2-40B4-BE49-F238E27FC236}">
                <a16:creationId xmlns:a16="http://schemas.microsoft.com/office/drawing/2014/main" id="{2CAD32B6-7D14-41BC-9810-92EBEE1282BD}"/>
              </a:ext>
            </a:extLst>
          </p:cNvPr>
          <p:cNvSpPr>
            <a:spLocks noGrp="1"/>
          </p:cNvSpPr>
          <p:nvPr>
            <p:ph type="body" sz="quarter" idx="12"/>
          </p:nvPr>
        </p:nvSpPr>
        <p:spPr/>
        <p:txBody>
          <a:bodyPr/>
          <a:lstStyle/>
          <a:p>
            <a:endParaRPr lang="da-DK"/>
          </a:p>
        </p:txBody>
      </p:sp>
    </p:spTree>
    <p:extLst>
      <p:ext uri="{BB962C8B-B14F-4D97-AF65-F5344CB8AC3E}">
        <p14:creationId xmlns:p14="http://schemas.microsoft.com/office/powerpoint/2010/main" val="37225139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FF9545FB-418E-4F9C-B87C-170456B71176}"/>
              </a:ext>
            </a:extLst>
          </p:cNvPr>
          <p:cNvSpPr>
            <a:spLocks noGrp="1"/>
          </p:cNvSpPr>
          <p:nvPr>
            <p:ph type="body" sz="quarter" idx="14"/>
          </p:nvPr>
        </p:nvSpPr>
        <p:spPr/>
        <p:txBody>
          <a:bodyPr/>
          <a:lstStyle/>
          <a:p>
            <a:endParaRPr lang="da-DK" dirty="0"/>
          </a:p>
        </p:txBody>
      </p:sp>
      <p:sp>
        <p:nvSpPr>
          <p:cNvPr id="3" name="Pladsholder til tekst 2">
            <a:extLst>
              <a:ext uri="{FF2B5EF4-FFF2-40B4-BE49-F238E27FC236}">
                <a16:creationId xmlns:a16="http://schemas.microsoft.com/office/drawing/2014/main" id="{1D7A8476-ACC5-4F10-A0C8-809BEEDC5A16}"/>
              </a:ext>
            </a:extLst>
          </p:cNvPr>
          <p:cNvSpPr>
            <a:spLocks noGrp="1"/>
          </p:cNvSpPr>
          <p:nvPr>
            <p:ph type="body" sz="quarter" idx="15"/>
          </p:nvPr>
        </p:nvSpPr>
        <p:spPr/>
        <p:txBody>
          <a:bodyPr/>
          <a:lstStyle/>
          <a:p>
            <a:r>
              <a:rPr lang="da-DK" dirty="0"/>
              <a:t>Orientering om budget 2025</a:t>
            </a:r>
          </a:p>
        </p:txBody>
      </p:sp>
      <p:sp>
        <p:nvSpPr>
          <p:cNvPr id="4" name="Titel 3">
            <a:extLst>
              <a:ext uri="{FF2B5EF4-FFF2-40B4-BE49-F238E27FC236}">
                <a16:creationId xmlns:a16="http://schemas.microsoft.com/office/drawing/2014/main" id="{5BC0C9D9-CE7E-4883-8003-09BD632D9F90}"/>
              </a:ext>
            </a:extLst>
          </p:cNvPr>
          <p:cNvSpPr>
            <a:spLocks noGrp="1"/>
          </p:cNvSpPr>
          <p:nvPr>
            <p:ph type="title"/>
          </p:nvPr>
        </p:nvSpPr>
        <p:spPr>
          <a:xfrm>
            <a:off x="623888" y="404665"/>
            <a:ext cx="10944224" cy="535531"/>
          </a:xfrm>
        </p:spPr>
        <p:txBody>
          <a:bodyPr/>
          <a:lstStyle/>
          <a:p>
            <a:r>
              <a:rPr lang="da-DK" b="1" dirty="0">
                <a:solidFill>
                  <a:schemeClr val="accent1"/>
                </a:solidFill>
              </a:rPr>
              <a:t>Tidsplan</a:t>
            </a:r>
            <a:r>
              <a:rPr lang="da-DK" dirty="0"/>
              <a:t> for budgetprocessen</a:t>
            </a:r>
            <a:endParaRPr lang="da-DK" dirty="0">
              <a:solidFill>
                <a:srgbClr val="FF0000"/>
              </a:solidFill>
            </a:endParaRPr>
          </a:p>
        </p:txBody>
      </p:sp>
      <p:graphicFrame>
        <p:nvGraphicFramePr>
          <p:cNvPr id="8" name="Tabel 7">
            <a:extLst>
              <a:ext uri="{FF2B5EF4-FFF2-40B4-BE49-F238E27FC236}">
                <a16:creationId xmlns:a16="http://schemas.microsoft.com/office/drawing/2014/main" id="{9A691CB5-A3F1-4029-9997-5D73D80B0A4A}"/>
              </a:ext>
            </a:extLst>
          </p:cNvPr>
          <p:cNvGraphicFramePr>
            <a:graphicFrameLocks noGrp="1"/>
          </p:cNvGraphicFramePr>
          <p:nvPr/>
        </p:nvGraphicFramePr>
        <p:xfrm>
          <a:off x="617767" y="2074325"/>
          <a:ext cx="7590971" cy="3544570"/>
        </p:xfrm>
        <a:graphic>
          <a:graphicData uri="http://schemas.openxmlformats.org/drawingml/2006/table">
            <a:tbl>
              <a:tblPr firstRow="1" bandRow="1">
                <a:tableStyleId>{5C22544A-7EE6-4342-B048-85BDC9FD1C3A}</a:tableStyleId>
              </a:tblPr>
              <a:tblGrid>
                <a:gridCol w="1817189">
                  <a:extLst>
                    <a:ext uri="{9D8B030D-6E8A-4147-A177-3AD203B41FA5}">
                      <a16:colId xmlns:a16="http://schemas.microsoft.com/office/drawing/2014/main" val="3655806271"/>
                    </a:ext>
                  </a:extLst>
                </a:gridCol>
                <a:gridCol w="5773782">
                  <a:extLst>
                    <a:ext uri="{9D8B030D-6E8A-4147-A177-3AD203B41FA5}">
                      <a16:colId xmlns:a16="http://schemas.microsoft.com/office/drawing/2014/main" val="2287741519"/>
                    </a:ext>
                  </a:extLst>
                </a:gridCol>
              </a:tblGrid>
              <a:tr h="370840">
                <a:tc>
                  <a:txBody>
                    <a:bodyPr/>
                    <a:lstStyle/>
                    <a:p>
                      <a:r>
                        <a:rPr lang="da-DK" dirty="0"/>
                        <a:t>Dato</a:t>
                      </a:r>
                    </a:p>
                  </a:txBody>
                  <a:tcPr/>
                </a:tc>
                <a:tc>
                  <a:txBody>
                    <a:bodyPr/>
                    <a:lstStyle/>
                    <a:p>
                      <a:r>
                        <a:rPr lang="da-DK" dirty="0"/>
                        <a:t>Aktivitet</a:t>
                      </a:r>
                    </a:p>
                  </a:txBody>
                  <a:tcPr/>
                </a:tc>
                <a:extLst>
                  <a:ext uri="{0D108BD9-81ED-4DB2-BD59-A6C34878D82A}">
                    <a16:rowId xmlns:a16="http://schemas.microsoft.com/office/drawing/2014/main" val="3270274671"/>
                  </a:ext>
                </a:extLst>
              </a:tr>
              <a:tr h="370840">
                <a:tc>
                  <a:txBody>
                    <a:bodyPr/>
                    <a:lstStyle/>
                    <a:p>
                      <a:pPr>
                        <a:lnSpc>
                          <a:spcPct val="150000"/>
                        </a:lnSpc>
                      </a:pPr>
                      <a:r>
                        <a:rPr lang="da-DK" dirty="0"/>
                        <a:t>20. august </a:t>
                      </a:r>
                    </a:p>
                  </a:txBody>
                  <a:tcPr/>
                </a:tc>
                <a:tc>
                  <a:txBody>
                    <a:bodyPr/>
                    <a:lstStyle/>
                    <a:p>
                      <a:pPr>
                        <a:lnSpc>
                          <a:spcPct val="150000"/>
                        </a:lnSpc>
                      </a:pPr>
                      <a:r>
                        <a:rPr lang="da-DK" dirty="0"/>
                        <a:t>Budgetforslag 2025 offentliggøres på hjemmesiden</a:t>
                      </a:r>
                    </a:p>
                  </a:txBody>
                  <a:tcPr/>
                </a:tc>
                <a:extLst>
                  <a:ext uri="{0D108BD9-81ED-4DB2-BD59-A6C34878D82A}">
                    <a16:rowId xmlns:a16="http://schemas.microsoft.com/office/drawing/2014/main" val="1343772771"/>
                  </a:ext>
                </a:extLst>
              </a:tr>
              <a:tr h="370840">
                <a:tc>
                  <a:txBody>
                    <a:bodyPr/>
                    <a:lstStyle/>
                    <a:p>
                      <a:pPr>
                        <a:lnSpc>
                          <a:spcPct val="150000"/>
                        </a:lnSpc>
                      </a:pPr>
                      <a:r>
                        <a:rPr lang="da-DK" dirty="0"/>
                        <a:t>30. august </a:t>
                      </a:r>
                    </a:p>
                  </a:txBody>
                  <a:tcPr/>
                </a:tc>
                <a:tc>
                  <a:txBody>
                    <a:bodyPr/>
                    <a:lstStyle/>
                    <a:p>
                      <a:pPr>
                        <a:lnSpc>
                          <a:spcPct val="150000"/>
                        </a:lnSpc>
                      </a:pPr>
                      <a:r>
                        <a:rPr lang="da-DK" dirty="0"/>
                        <a:t>Frist for høringssvar til budgettet (kl. 12.00)</a:t>
                      </a:r>
                    </a:p>
                  </a:txBody>
                  <a:tcPr/>
                </a:tc>
                <a:extLst>
                  <a:ext uri="{0D108BD9-81ED-4DB2-BD59-A6C34878D82A}">
                    <a16:rowId xmlns:a16="http://schemas.microsoft.com/office/drawing/2014/main" val="1530762869"/>
                  </a:ext>
                </a:extLst>
              </a:tr>
              <a:tr h="370840">
                <a:tc>
                  <a:txBody>
                    <a:bodyPr/>
                    <a:lstStyle/>
                    <a:p>
                      <a:pPr>
                        <a:lnSpc>
                          <a:spcPct val="150000"/>
                        </a:lnSpc>
                      </a:pPr>
                      <a:r>
                        <a:rPr lang="da-DK" dirty="0"/>
                        <a:t>2. september </a:t>
                      </a:r>
                    </a:p>
                  </a:txBody>
                  <a:tcPr/>
                </a:tc>
                <a:tc>
                  <a:txBody>
                    <a:bodyPr/>
                    <a:lstStyle/>
                    <a:p>
                      <a:pPr>
                        <a:lnSpc>
                          <a:spcPct val="150000"/>
                        </a:lnSpc>
                      </a:pPr>
                      <a:r>
                        <a:rPr lang="da-DK" dirty="0"/>
                        <a:t>Kommunalbestyrelsen 1. behandler budgetforslag 2025</a:t>
                      </a:r>
                    </a:p>
                  </a:txBody>
                  <a:tcPr/>
                </a:tc>
                <a:extLst>
                  <a:ext uri="{0D108BD9-81ED-4DB2-BD59-A6C34878D82A}">
                    <a16:rowId xmlns:a16="http://schemas.microsoft.com/office/drawing/2014/main" val="1919799475"/>
                  </a:ext>
                </a:extLst>
              </a:tr>
              <a:tr h="370840">
                <a:tc>
                  <a:txBody>
                    <a:bodyPr/>
                    <a:lstStyle/>
                    <a:p>
                      <a:pPr>
                        <a:lnSpc>
                          <a:spcPct val="150000"/>
                        </a:lnSpc>
                      </a:pPr>
                      <a:r>
                        <a:rPr lang="da-DK" dirty="0"/>
                        <a:t>6.-8. september</a:t>
                      </a:r>
                    </a:p>
                  </a:txBody>
                  <a:tcPr/>
                </a:tc>
                <a:tc>
                  <a:txBody>
                    <a:bodyPr/>
                    <a:lstStyle/>
                    <a:p>
                      <a:pPr>
                        <a:lnSpc>
                          <a:spcPct val="150000"/>
                        </a:lnSpc>
                      </a:pPr>
                      <a:r>
                        <a:rPr lang="da-DK" dirty="0"/>
                        <a:t>Kommunalbestyrelsens budgetkonference</a:t>
                      </a:r>
                    </a:p>
                  </a:txBody>
                  <a:tcPr/>
                </a:tc>
                <a:extLst>
                  <a:ext uri="{0D108BD9-81ED-4DB2-BD59-A6C34878D82A}">
                    <a16:rowId xmlns:a16="http://schemas.microsoft.com/office/drawing/2014/main" val="1068674783"/>
                  </a:ext>
                </a:extLst>
              </a:tr>
              <a:tr h="370840">
                <a:tc>
                  <a:txBody>
                    <a:bodyPr/>
                    <a:lstStyle/>
                    <a:p>
                      <a:pPr>
                        <a:lnSpc>
                          <a:spcPct val="150000"/>
                        </a:lnSpc>
                      </a:pPr>
                      <a:r>
                        <a:rPr lang="da-DK" dirty="0"/>
                        <a:t>18. september </a:t>
                      </a:r>
                    </a:p>
                  </a:txBody>
                  <a:tcPr/>
                </a:tc>
                <a:tc>
                  <a:txBody>
                    <a:bodyPr/>
                    <a:lstStyle/>
                    <a:p>
                      <a:pPr>
                        <a:lnSpc>
                          <a:spcPct val="150000"/>
                        </a:lnSpc>
                      </a:pPr>
                      <a:r>
                        <a:rPr lang="da-DK" dirty="0"/>
                        <a:t>Frist for de politiske partiers ændringsforslag</a:t>
                      </a:r>
                    </a:p>
                  </a:txBody>
                  <a:tcPr/>
                </a:tc>
                <a:extLst>
                  <a:ext uri="{0D108BD9-81ED-4DB2-BD59-A6C34878D82A}">
                    <a16:rowId xmlns:a16="http://schemas.microsoft.com/office/drawing/2014/main" val="3631368650"/>
                  </a:ext>
                </a:extLst>
              </a:tr>
              <a:tr h="370840">
                <a:tc>
                  <a:txBody>
                    <a:bodyPr/>
                    <a:lstStyle/>
                    <a:p>
                      <a:pPr>
                        <a:lnSpc>
                          <a:spcPct val="150000"/>
                        </a:lnSpc>
                      </a:pPr>
                      <a:r>
                        <a:rPr lang="da-DK" dirty="0"/>
                        <a:t>7. oktober </a:t>
                      </a:r>
                    </a:p>
                  </a:txBody>
                  <a:tcPr/>
                </a:tc>
                <a:tc>
                  <a:txBody>
                    <a:bodyPr/>
                    <a:lstStyle/>
                    <a:p>
                      <a:pPr>
                        <a:lnSpc>
                          <a:spcPct val="150000"/>
                        </a:lnSpc>
                      </a:pPr>
                      <a:r>
                        <a:rPr lang="da-DK" dirty="0"/>
                        <a:t>Kommunalbestyrelsen vedtager budget 2025 (2. behandling)</a:t>
                      </a:r>
                    </a:p>
                  </a:txBody>
                  <a:tcPr/>
                </a:tc>
                <a:extLst>
                  <a:ext uri="{0D108BD9-81ED-4DB2-BD59-A6C34878D82A}">
                    <a16:rowId xmlns:a16="http://schemas.microsoft.com/office/drawing/2014/main" val="3152733944"/>
                  </a:ext>
                </a:extLst>
              </a:tr>
            </a:tbl>
          </a:graphicData>
        </a:graphic>
      </p:graphicFrame>
    </p:spTree>
    <p:extLst>
      <p:ext uri="{BB962C8B-B14F-4D97-AF65-F5344CB8AC3E}">
        <p14:creationId xmlns:p14="http://schemas.microsoft.com/office/powerpoint/2010/main" val="1851220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AMU Kurser</a:t>
            </a:r>
          </a:p>
          <a:p>
            <a:pPr marL="342900" lvl="0" indent="-342900">
              <a:lnSpc>
                <a:spcPct val="150000"/>
              </a:lnSpc>
              <a:buFont typeface="+mj-lt"/>
              <a:buAutoNum type="arabicPeriod"/>
            </a:pPr>
            <a:r>
              <a:rPr lang="da-DK" sz="1800" dirty="0">
                <a:effectLst/>
                <a:ea typeface="Times New Roman" panose="02020603050405020304" pitchFamily="18" charset="0"/>
              </a:rPr>
              <a:t>Budget 2025 Frederiksberg</a:t>
            </a:r>
          </a:p>
          <a:p>
            <a:pPr marL="342900" lvl="0" indent="-342900">
              <a:lnSpc>
                <a:spcPct val="150000"/>
              </a:lnSpc>
              <a:buFont typeface="+mj-lt"/>
              <a:buAutoNum type="arabicPeriod"/>
            </a:pPr>
            <a:r>
              <a:rPr lang="da-DK" sz="1800" b="1" dirty="0">
                <a:ea typeface="Times New Roman" panose="02020603050405020304" pitchFamily="18" charset="0"/>
              </a:rPr>
              <a:t>Hjemmesiden</a:t>
            </a:r>
          </a:p>
          <a:p>
            <a:pPr marL="342900" lvl="0" indent="-342900">
              <a:lnSpc>
                <a:spcPct val="150000"/>
              </a:lnSpc>
              <a:buFont typeface="+mj-lt"/>
              <a:buAutoNum type="arabicPeriod"/>
            </a:pPr>
            <a:r>
              <a:rPr lang="da-DK" sz="1800" dirty="0">
                <a:effectLst/>
                <a:ea typeface="Times New Roman" panose="02020603050405020304" pitchFamily="18" charset="0"/>
              </a:rPr>
              <a:t>Tid til at mødes med nyansatte i arbejdstiden</a:t>
            </a:r>
          </a:p>
          <a:p>
            <a:pPr marL="342900" lvl="0" indent="-342900">
              <a:lnSpc>
                <a:spcPct val="150000"/>
              </a:lnSpc>
              <a:buFont typeface="+mj-lt"/>
              <a:buAutoNum type="arabicPeriod"/>
            </a:pPr>
            <a:r>
              <a:rPr lang="da-DK" sz="1800" dirty="0">
                <a:effectLst/>
                <a:ea typeface="Times New Roman" panose="02020603050405020304" pitchFamily="18" charset="0"/>
              </a:rPr>
              <a:t>Retningslinjer om krænkende handlinger</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38012055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2DAA6C16-BF9B-4A3E-BC70-EE6015D4F9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9C1F10E8-593A-6870-7840-DF2F701853E6}"/>
              </a:ext>
            </a:extLst>
          </p:cNvPr>
          <p:cNvSpPr>
            <a:spLocks noGrp="1"/>
          </p:cNvSpPr>
          <p:nvPr>
            <p:ph type="title"/>
          </p:nvPr>
        </p:nvSpPr>
        <p:spPr>
          <a:xfrm>
            <a:off x="838200" y="4669978"/>
            <a:ext cx="4391024" cy="1173700"/>
          </a:xfrm>
        </p:spPr>
        <p:txBody>
          <a:bodyPr vert="horz" lIns="91440" tIns="45720" rIns="91440" bIns="45720" rtlCol="0" anchor="t">
            <a:normAutofit/>
          </a:bodyPr>
          <a:lstStyle/>
          <a:p>
            <a:r>
              <a:rPr lang="en-US" sz="4000" kern="1200">
                <a:solidFill>
                  <a:schemeClr val="bg1"/>
                </a:solidFill>
                <a:latin typeface="+mj-lt"/>
                <a:ea typeface="+mj-ea"/>
                <a:cs typeface="+mj-cs"/>
              </a:rPr>
              <a:t>Ny hjemmeside:</a:t>
            </a:r>
          </a:p>
        </p:txBody>
      </p:sp>
      <p:pic>
        <p:nvPicPr>
          <p:cNvPr id="6" name="Pladsholder til indhold 5" descr="Et billede, der indeholder tekst, skærmbillede, Webside, Website&#10;&#10;Automatisk genereret beskrivelse">
            <a:extLst>
              <a:ext uri="{FF2B5EF4-FFF2-40B4-BE49-F238E27FC236}">
                <a16:creationId xmlns:a16="http://schemas.microsoft.com/office/drawing/2014/main" id="{95F8537A-8269-C667-5901-00AEAA06B26A}"/>
              </a:ext>
            </a:extLst>
          </p:cNvPr>
          <p:cNvPicPr>
            <a:picLocks noChangeAspect="1"/>
          </p:cNvPicPr>
          <p:nvPr/>
        </p:nvPicPr>
        <p:blipFill>
          <a:blip r:embed="rId2">
            <a:extLst>
              <a:ext uri="{28A0092B-C50C-407E-A947-70E740481C1C}">
                <a14:useLocalDpi xmlns:a14="http://schemas.microsoft.com/office/drawing/2010/main" val="0"/>
              </a:ext>
            </a:extLst>
          </a:blip>
          <a:srcRect l="9657" r="4056" b="1"/>
          <a:stretch/>
        </p:blipFill>
        <p:spPr>
          <a:xfrm>
            <a:off x="6" y="-1"/>
            <a:ext cx="6000749" cy="3911828"/>
          </a:xfrm>
          <a:custGeom>
            <a:avLst/>
            <a:gdLst/>
            <a:ahLst/>
            <a:cxnLst/>
            <a:rect l="l" t="t" r="r" b="b"/>
            <a:pathLst>
              <a:path w="6000749" h="3911828">
                <a:moveTo>
                  <a:pt x="0" y="0"/>
                </a:moveTo>
                <a:lnTo>
                  <a:pt x="6000749" y="0"/>
                </a:lnTo>
                <a:lnTo>
                  <a:pt x="6000749" y="3767827"/>
                </a:lnTo>
                <a:lnTo>
                  <a:pt x="5572124" y="3740378"/>
                </a:lnTo>
                <a:lnTo>
                  <a:pt x="0" y="3911828"/>
                </a:lnTo>
                <a:close/>
              </a:path>
            </a:pathLst>
          </a:custGeom>
        </p:spPr>
      </p:pic>
      <p:pic>
        <p:nvPicPr>
          <p:cNvPr id="8" name="Pladsholder til indhold 7" descr="Et billede, der indeholder tekst, bygning, skærmbillede, vindue&#10;&#10;Automatisk genereret beskrivelse">
            <a:extLst>
              <a:ext uri="{FF2B5EF4-FFF2-40B4-BE49-F238E27FC236}">
                <a16:creationId xmlns:a16="http://schemas.microsoft.com/office/drawing/2014/main" id="{F01CB422-0380-2AAB-3902-63E04A7144BA}"/>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t="4271" r="1" b="1127"/>
          <a:stretch/>
        </p:blipFill>
        <p:spPr>
          <a:xfrm>
            <a:off x="6191245" y="-1"/>
            <a:ext cx="6000750" cy="3988028"/>
          </a:xfrm>
          <a:custGeom>
            <a:avLst/>
            <a:gdLst/>
            <a:ahLst/>
            <a:cxnLst/>
            <a:rect l="l" t="t" r="r" b="b"/>
            <a:pathLst>
              <a:path w="6000750" h="3988028">
                <a:moveTo>
                  <a:pt x="0" y="0"/>
                </a:moveTo>
                <a:lnTo>
                  <a:pt x="6000750" y="0"/>
                </a:lnTo>
                <a:lnTo>
                  <a:pt x="6000750" y="797153"/>
                </a:lnTo>
                <a:lnTo>
                  <a:pt x="6000750" y="2634343"/>
                </a:lnTo>
                <a:lnTo>
                  <a:pt x="6000750" y="3911828"/>
                </a:lnTo>
                <a:lnTo>
                  <a:pt x="3248025" y="3988028"/>
                </a:lnTo>
                <a:lnTo>
                  <a:pt x="0" y="3780026"/>
                </a:lnTo>
                <a:close/>
              </a:path>
            </a:pathLst>
          </a:custGeom>
        </p:spPr>
      </p:pic>
      <p:grpSp>
        <p:nvGrpSpPr>
          <p:cNvPr id="26" name="Group 25">
            <a:extLst>
              <a:ext uri="{FF2B5EF4-FFF2-40B4-BE49-F238E27FC236}">
                <a16:creationId xmlns:a16="http://schemas.microsoft.com/office/drawing/2014/main" id="{A4AE1828-51FD-4AD7-BCF6-9AF5C696CE5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3528992"/>
            <a:ext cx="12192000" cy="757168"/>
            <a:chOff x="0" y="2959818"/>
            <a:chExt cx="12192000" cy="757168"/>
          </a:xfrm>
        </p:grpSpPr>
        <p:sp>
          <p:nvSpPr>
            <p:cNvPr id="27" name="Freeform: Shape 26">
              <a:extLst>
                <a:ext uri="{FF2B5EF4-FFF2-40B4-BE49-F238E27FC236}">
                  <a16:creationId xmlns:a16="http://schemas.microsoft.com/office/drawing/2014/main" id="{8542C7CD-02BE-4ADE-8D2F-DFB759D71A3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959818"/>
              <a:ext cx="12192000" cy="757168"/>
            </a:xfrm>
            <a:custGeom>
              <a:avLst/>
              <a:gdLst>
                <a:gd name="connsiteX0" fmla="*/ 0 w 12192000"/>
                <a:gd name="connsiteY0" fmla="*/ 0 h 757168"/>
                <a:gd name="connsiteX1" fmla="*/ 41653 w 12192000"/>
                <a:gd name="connsiteY1" fmla="*/ 6945 h 757168"/>
                <a:gd name="connsiteX2" fmla="*/ 81317 w 12192000"/>
                <a:gd name="connsiteY2" fmla="*/ 15509 h 757168"/>
                <a:gd name="connsiteX3" fmla="*/ 114150 w 12192000"/>
                <a:gd name="connsiteY3" fmla="*/ 28105 h 757168"/>
                <a:gd name="connsiteX4" fmla="*/ 214865 w 12192000"/>
                <a:gd name="connsiteY4" fmla="*/ 58374 h 757168"/>
                <a:gd name="connsiteX5" fmla="*/ 299237 w 12192000"/>
                <a:gd name="connsiteY5" fmla="*/ 63560 h 757168"/>
                <a:gd name="connsiteX6" fmla="*/ 415570 w 12192000"/>
                <a:gd name="connsiteY6" fmla="*/ 83774 h 757168"/>
                <a:gd name="connsiteX7" fmla="*/ 633210 w 12192000"/>
                <a:gd name="connsiteY7" fmla="*/ 109108 h 757168"/>
                <a:gd name="connsiteX8" fmla="*/ 677567 w 12192000"/>
                <a:gd name="connsiteY8" fmla="*/ 119446 h 757168"/>
                <a:gd name="connsiteX9" fmla="*/ 946429 w 12192000"/>
                <a:gd name="connsiteY9" fmla="*/ 171502 h 757168"/>
                <a:gd name="connsiteX10" fmla="*/ 1163367 w 12192000"/>
                <a:gd name="connsiteY10" fmla="*/ 182106 h 757168"/>
                <a:gd name="connsiteX11" fmla="*/ 1180337 w 12192000"/>
                <a:gd name="connsiteY11" fmla="*/ 181279 h 757168"/>
                <a:gd name="connsiteX12" fmla="*/ 1263939 w 12192000"/>
                <a:gd name="connsiteY12" fmla="*/ 173070 h 757168"/>
                <a:gd name="connsiteX13" fmla="*/ 1392213 w 12192000"/>
                <a:gd name="connsiteY13" fmla="*/ 183225 h 757168"/>
                <a:gd name="connsiteX14" fmla="*/ 1479752 w 12192000"/>
                <a:gd name="connsiteY14" fmla="*/ 205174 h 757168"/>
                <a:gd name="connsiteX15" fmla="*/ 1589813 w 12192000"/>
                <a:gd name="connsiteY15" fmla="*/ 211706 h 757168"/>
                <a:gd name="connsiteX16" fmla="*/ 1716264 w 12192000"/>
                <a:gd name="connsiteY16" fmla="*/ 207459 h 757168"/>
                <a:gd name="connsiteX17" fmla="*/ 1772900 w 12192000"/>
                <a:gd name="connsiteY17" fmla="*/ 208137 h 757168"/>
                <a:gd name="connsiteX18" fmla="*/ 1929319 w 12192000"/>
                <a:gd name="connsiteY18" fmla="*/ 193822 h 757168"/>
                <a:gd name="connsiteX19" fmla="*/ 2021514 w 12192000"/>
                <a:gd name="connsiteY19" fmla="*/ 204186 h 757168"/>
                <a:gd name="connsiteX20" fmla="*/ 2111753 w 12192000"/>
                <a:gd name="connsiteY20" fmla="*/ 223797 h 757168"/>
                <a:gd name="connsiteX21" fmla="*/ 2169356 w 12192000"/>
                <a:gd name="connsiteY21" fmla="*/ 241125 h 757168"/>
                <a:gd name="connsiteX22" fmla="*/ 2286638 w 12192000"/>
                <a:gd name="connsiteY22" fmla="*/ 257382 h 757168"/>
                <a:gd name="connsiteX23" fmla="*/ 2308368 w 12192000"/>
                <a:gd name="connsiteY23" fmla="*/ 256995 h 757168"/>
                <a:gd name="connsiteX24" fmla="*/ 2660621 w 12192000"/>
                <a:gd name="connsiteY24" fmla="*/ 262863 h 757168"/>
                <a:gd name="connsiteX25" fmla="*/ 2801134 w 12192000"/>
                <a:gd name="connsiteY25" fmla="*/ 250006 h 757168"/>
                <a:gd name="connsiteX26" fmla="*/ 2830994 w 12192000"/>
                <a:gd name="connsiteY26" fmla="*/ 249091 h 757168"/>
                <a:gd name="connsiteX27" fmla="*/ 3129084 w 12192000"/>
                <a:gd name="connsiteY27" fmla="*/ 242009 h 757168"/>
                <a:gd name="connsiteX28" fmla="*/ 3162162 w 12192000"/>
                <a:gd name="connsiteY28" fmla="*/ 242789 h 757168"/>
                <a:gd name="connsiteX29" fmla="*/ 3254072 w 12192000"/>
                <a:gd name="connsiteY29" fmla="*/ 251612 h 757168"/>
                <a:gd name="connsiteX30" fmla="*/ 3473491 w 12192000"/>
                <a:gd name="connsiteY30" fmla="*/ 221903 h 757168"/>
                <a:gd name="connsiteX31" fmla="*/ 3691860 w 12192000"/>
                <a:gd name="connsiteY31" fmla="*/ 219228 h 757168"/>
                <a:gd name="connsiteX32" fmla="*/ 3811494 w 12192000"/>
                <a:gd name="connsiteY32" fmla="*/ 225691 h 757168"/>
                <a:gd name="connsiteX33" fmla="*/ 3897533 w 12192000"/>
                <a:gd name="connsiteY33" fmla="*/ 220087 h 757168"/>
                <a:gd name="connsiteX34" fmla="*/ 4109430 w 12192000"/>
                <a:gd name="connsiteY34" fmla="*/ 200477 h 757168"/>
                <a:gd name="connsiteX35" fmla="*/ 4208772 w 12192000"/>
                <a:gd name="connsiteY35" fmla="*/ 200914 h 757168"/>
                <a:gd name="connsiteX36" fmla="*/ 4314641 w 12192000"/>
                <a:gd name="connsiteY36" fmla="*/ 196159 h 757168"/>
                <a:gd name="connsiteX37" fmla="*/ 4577622 w 12192000"/>
                <a:gd name="connsiteY37" fmla="*/ 163774 h 757168"/>
                <a:gd name="connsiteX38" fmla="*/ 4790345 w 12192000"/>
                <a:gd name="connsiteY38" fmla="*/ 177592 h 757168"/>
                <a:gd name="connsiteX39" fmla="*/ 4926164 w 12192000"/>
                <a:gd name="connsiteY39" fmla="*/ 184139 h 757168"/>
                <a:gd name="connsiteX40" fmla="*/ 5088812 w 12192000"/>
                <a:gd name="connsiteY40" fmla="*/ 177401 h 757168"/>
                <a:gd name="connsiteX41" fmla="*/ 5222466 w 12192000"/>
                <a:gd name="connsiteY41" fmla="*/ 162082 h 757168"/>
                <a:gd name="connsiteX42" fmla="*/ 5406528 w 12192000"/>
                <a:gd name="connsiteY42" fmla="*/ 153987 h 757168"/>
                <a:gd name="connsiteX43" fmla="*/ 5590716 w 12192000"/>
                <a:gd name="connsiteY43" fmla="*/ 129490 h 757168"/>
                <a:gd name="connsiteX44" fmla="*/ 5719429 w 12192000"/>
                <a:gd name="connsiteY44" fmla="*/ 110099 h 757168"/>
                <a:gd name="connsiteX45" fmla="*/ 5897895 w 12192000"/>
                <a:gd name="connsiteY45" fmla="*/ 96368 h 757168"/>
                <a:gd name="connsiteX46" fmla="*/ 6169957 w 12192000"/>
                <a:gd name="connsiteY46" fmla="*/ 94411 h 757168"/>
                <a:gd name="connsiteX47" fmla="*/ 6294827 w 12192000"/>
                <a:gd name="connsiteY47" fmla="*/ 99236 h 757168"/>
                <a:gd name="connsiteX48" fmla="*/ 6494261 w 12192000"/>
                <a:gd name="connsiteY48" fmla="*/ 71724 h 757168"/>
                <a:gd name="connsiteX49" fmla="*/ 6579627 w 12192000"/>
                <a:gd name="connsiteY49" fmla="*/ 57883 h 757168"/>
                <a:gd name="connsiteX50" fmla="*/ 6654800 w 12192000"/>
                <a:gd name="connsiteY50" fmla="*/ 77086 h 757168"/>
                <a:gd name="connsiteX51" fmla="*/ 6703059 w 12192000"/>
                <a:gd name="connsiteY51" fmla="*/ 97166 h 757168"/>
                <a:gd name="connsiteX52" fmla="*/ 6859445 w 12192000"/>
                <a:gd name="connsiteY52" fmla="*/ 90481 h 757168"/>
                <a:gd name="connsiteX53" fmla="*/ 7025414 w 12192000"/>
                <a:gd name="connsiteY53" fmla="*/ 83536 h 757168"/>
                <a:gd name="connsiteX54" fmla="*/ 7144137 w 12192000"/>
                <a:gd name="connsiteY54" fmla="*/ 79264 h 757168"/>
                <a:gd name="connsiteX55" fmla="*/ 7291235 w 12192000"/>
                <a:gd name="connsiteY55" fmla="*/ 95367 h 757168"/>
                <a:gd name="connsiteX56" fmla="*/ 7407395 w 12192000"/>
                <a:gd name="connsiteY56" fmla="*/ 104888 h 757168"/>
                <a:gd name="connsiteX57" fmla="*/ 7500837 w 12192000"/>
                <a:gd name="connsiteY57" fmla="*/ 119515 h 757168"/>
                <a:gd name="connsiteX58" fmla="*/ 7533567 w 12192000"/>
                <a:gd name="connsiteY58" fmla="*/ 126955 h 757168"/>
                <a:gd name="connsiteX59" fmla="*/ 7792910 w 12192000"/>
                <a:gd name="connsiteY59" fmla="*/ 185188 h 757168"/>
                <a:gd name="connsiteX60" fmla="*/ 8070699 w 12192000"/>
                <a:gd name="connsiteY60" fmla="*/ 235423 h 757168"/>
                <a:gd name="connsiteX61" fmla="*/ 8253177 w 12192000"/>
                <a:gd name="connsiteY61" fmla="*/ 222473 h 757168"/>
                <a:gd name="connsiteX62" fmla="*/ 8320683 w 12192000"/>
                <a:gd name="connsiteY62" fmla="*/ 226393 h 757168"/>
                <a:gd name="connsiteX63" fmla="*/ 8631438 w 12192000"/>
                <a:gd name="connsiteY63" fmla="*/ 237528 h 757168"/>
                <a:gd name="connsiteX64" fmla="*/ 8686410 w 12192000"/>
                <a:gd name="connsiteY64" fmla="*/ 234877 h 757168"/>
                <a:gd name="connsiteX65" fmla="*/ 8980658 w 12192000"/>
                <a:gd name="connsiteY65" fmla="*/ 273001 h 757168"/>
                <a:gd name="connsiteX66" fmla="*/ 9087625 w 12192000"/>
                <a:gd name="connsiteY66" fmla="*/ 282423 h 757168"/>
                <a:gd name="connsiteX67" fmla="*/ 9186017 w 12192000"/>
                <a:gd name="connsiteY67" fmla="*/ 293875 h 757168"/>
                <a:gd name="connsiteX68" fmla="*/ 9323931 w 12192000"/>
                <a:gd name="connsiteY68" fmla="*/ 302628 h 757168"/>
                <a:gd name="connsiteX69" fmla="*/ 9467213 w 12192000"/>
                <a:gd name="connsiteY69" fmla="*/ 307275 h 757168"/>
                <a:gd name="connsiteX70" fmla="*/ 9626826 w 12192000"/>
                <a:gd name="connsiteY70" fmla="*/ 316213 h 757168"/>
                <a:gd name="connsiteX71" fmla="*/ 9689696 w 12192000"/>
                <a:gd name="connsiteY71" fmla="*/ 324467 h 757168"/>
                <a:gd name="connsiteX72" fmla="*/ 9860526 w 12192000"/>
                <a:gd name="connsiteY72" fmla="*/ 329986 h 757168"/>
                <a:gd name="connsiteX73" fmla="*/ 9949775 w 12192000"/>
                <a:gd name="connsiteY73" fmla="*/ 340386 h 757168"/>
                <a:gd name="connsiteX74" fmla="*/ 10097252 w 12192000"/>
                <a:gd name="connsiteY74" fmla="*/ 349262 h 757168"/>
                <a:gd name="connsiteX75" fmla="*/ 10145261 w 12192000"/>
                <a:gd name="connsiteY75" fmla="*/ 353113 h 757168"/>
                <a:gd name="connsiteX76" fmla="*/ 10188159 w 12192000"/>
                <a:gd name="connsiteY76" fmla="*/ 356124 h 757168"/>
                <a:gd name="connsiteX77" fmla="*/ 10336144 w 12192000"/>
                <a:gd name="connsiteY77" fmla="*/ 348235 h 757168"/>
                <a:gd name="connsiteX78" fmla="*/ 10466847 w 12192000"/>
                <a:gd name="connsiteY78" fmla="*/ 354131 h 757168"/>
                <a:gd name="connsiteX79" fmla="*/ 10696514 w 12192000"/>
                <a:gd name="connsiteY79" fmla="*/ 353575 h 757168"/>
                <a:gd name="connsiteX80" fmla="*/ 10746932 w 12192000"/>
                <a:gd name="connsiteY80" fmla="*/ 360606 h 757168"/>
                <a:gd name="connsiteX81" fmla="*/ 10905388 w 12192000"/>
                <a:gd name="connsiteY81" fmla="*/ 370627 h 757168"/>
                <a:gd name="connsiteX82" fmla="*/ 10995602 w 12192000"/>
                <a:gd name="connsiteY82" fmla="*/ 376691 h 757168"/>
                <a:gd name="connsiteX83" fmla="*/ 11107647 w 12192000"/>
                <a:gd name="connsiteY83" fmla="*/ 373405 h 757168"/>
                <a:gd name="connsiteX84" fmla="*/ 11302440 w 12192000"/>
                <a:gd name="connsiteY84" fmla="*/ 364156 h 757168"/>
                <a:gd name="connsiteX85" fmla="*/ 11353613 w 12192000"/>
                <a:gd name="connsiteY85" fmla="*/ 363785 h 757168"/>
                <a:gd name="connsiteX86" fmla="*/ 11447323 w 12192000"/>
                <a:gd name="connsiteY86" fmla="*/ 359346 h 757168"/>
                <a:gd name="connsiteX87" fmla="*/ 11464292 w 12192000"/>
                <a:gd name="connsiteY87" fmla="*/ 358519 h 757168"/>
                <a:gd name="connsiteX88" fmla="*/ 11607560 w 12192000"/>
                <a:gd name="connsiteY88" fmla="*/ 342370 h 757168"/>
                <a:gd name="connsiteX89" fmla="*/ 11681426 w 12192000"/>
                <a:gd name="connsiteY89" fmla="*/ 344335 h 757168"/>
                <a:gd name="connsiteX90" fmla="*/ 11893565 w 12192000"/>
                <a:gd name="connsiteY90" fmla="*/ 355261 h 757168"/>
                <a:gd name="connsiteX91" fmla="*/ 11983290 w 12192000"/>
                <a:gd name="connsiteY91" fmla="*/ 363588 h 757168"/>
                <a:gd name="connsiteX92" fmla="*/ 12192000 w 12192000"/>
                <a:gd name="connsiteY92" fmla="*/ 388018 h 757168"/>
                <a:gd name="connsiteX93" fmla="*/ 12192000 w 12192000"/>
                <a:gd name="connsiteY93" fmla="*/ 577115 h 757168"/>
                <a:gd name="connsiteX94" fmla="*/ 12157329 w 12192000"/>
                <a:gd name="connsiteY94" fmla="*/ 588862 h 757168"/>
                <a:gd name="connsiteX95" fmla="*/ 12066948 w 12192000"/>
                <a:gd name="connsiteY95" fmla="*/ 586034 h 757168"/>
                <a:gd name="connsiteX96" fmla="*/ 11911344 w 12192000"/>
                <a:gd name="connsiteY96" fmla="*/ 521599 h 757168"/>
                <a:gd name="connsiteX97" fmla="*/ 11847823 w 12192000"/>
                <a:gd name="connsiteY97" fmla="*/ 511785 h 757168"/>
                <a:gd name="connsiteX98" fmla="*/ 11737547 w 12192000"/>
                <a:gd name="connsiteY98" fmla="*/ 502380 h 757168"/>
                <a:gd name="connsiteX99" fmla="*/ 11636052 w 12192000"/>
                <a:gd name="connsiteY99" fmla="*/ 514993 h 757168"/>
                <a:gd name="connsiteX100" fmla="*/ 11394706 w 12192000"/>
                <a:gd name="connsiteY100" fmla="*/ 590867 h 757168"/>
                <a:gd name="connsiteX101" fmla="*/ 11354978 w 12192000"/>
                <a:gd name="connsiteY101" fmla="*/ 597561 h 757168"/>
                <a:gd name="connsiteX102" fmla="*/ 11285306 w 12192000"/>
                <a:gd name="connsiteY102" fmla="*/ 599825 h 757168"/>
                <a:gd name="connsiteX103" fmla="*/ 11008528 w 12192000"/>
                <a:gd name="connsiteY103" fmla="*/ 656670 h 757168"/>
                <a:gd name="connsiteX104" fmla="*/ 10948735 w 12192000"/>
                <a:gd name="connsiteY104" fmla="*/ 652964 h 757168"/>
                <a:gd name="connsiteX105" fmla="*/ 10850698 w 12192000"/>
                <a:gd name="connsiteY105" fmla="*/ 641721 h 757168"/>
                <a:gd name="connsiteX106" fmla="*/ 10744026 w 12192000"/>
                <a:gd name="connsiteY106" fmla="*/ 647769 h 757168"/>
                <a:gd name="connsiteX107" fmla="*/ 10666160 w 12192000"/>
                <a:gd name="connsiteY107" fmla="*/ 651891 h 757168"/>
                <a:gd name="connsiteX108" fmla="*/ 10450521 w 12192000"/>
                <a:gd name="connsiteY108" fmla="*/ 616552 h 757168"/>
                <a:gd name="connsiteX109" fmla="*/ 10271192 w 12192000"/>
                <a:gd name="connsiteY109" fmla="*/ 583498 h 757168"/>
                <a:gd name="connsiteX110" fmla="*/ 10246067 w 12192000"/>
                <a:gd name="connsiteY110" fmla="*/ 585423 h 757168"/>
                <a:gd name="connsiteX111" fmla="*/ 10005027 w 12192000"/>
                <a:gd name="connsiteY111" fmla="*/ 592252 h 757168"/>
                <a:gd name="connsiteX112" fmla="*/ 9898681 w 12192000"/>
                <a:gd name="connsiteY112" fmla="*/ 613195 h 757168"/>
                <a:gd name="connsiteX113" fmla="*/ 9753225 w 12192000"/>
                <a:gd name="connsiteY113" fmla="*/ 629038 h 757168"/>
                <a:gd name="connsiteX114" fmla="*/ 9591376 w 12192000"/>
                <a:gd name="connsiteY114" fmla="*/ 648601 h 757168"/>
                <a:gd name="connsiteX115" fmla="*/ 9472860 w 12192000"/>
                <a:gd name="connsiteY115" fmla="*/ 655936 h 757168"/>
                <a:gd name="connsiteX116" fmla="*/ 9299788 w 12192000"/>
                <a:gd name="connsiteY116" fmla="*/ 636945 h 757168"/>
                <a:gd name="connsiteX117" fmla="*/ 9264605 w 12192000"/>
                <a:gd name="connsiteY117" fmla="*/ 627087 h 757168"/>
                <a:gd name="connsiteX118" fmla="*/ 8926435 w 12192000"/>
                <a:gd name="connsiteY118" fmla="*/ 549269 h 757168"/>
                <a:gd name="connsiteX119" fmla="*/ 8698934 w 12192000"/>
                <a:gd name="connsiteY119" fmla="*/ 536583 h 757168"/>
                <a:gd name="connsiteX120" fmla="*/ 8622862 w 12192000"/>
                <a:gd name="connsiteY120" fmla="*/ 541563 h 757168"/>
                <a:gd name="connsiteX121" fmla="*/ 8482784 w 12192000"/>
                <a:gd name="connsiteY121" fmla="*/ 574094 h 757168"/>
                <a:gd name="connsiteX122" fmla="*/ 8421565 w 12192000"/>
                <a:gd name="connsiteY122" fmla="*/ 576610 h 757168"/>
                <a:gd name="connsiteX123" fmla="*/ 8313469 w 12192000"/>
                <a:gd name="connsiteY123" fmla="*/ 574762 h 757168"/>
                <a:gd name="connsiteX124" fmla="*/ 8079520 w 12192000"/>
                <a:gd name="connsiteY124" fmla="*/ 558685 h 757168"/>
                <a:gd name="connsiteX125" fmla="*/ 7773327 w 12192000"/>
                <a:gd name="connsiteY125" fmla="*/ 558854 h 757168"/>
                <a:gd name="connsiteX126" fmla="*/ 7652477 w 12192000"/>
                <a:gd name="connsiteY126" fmla="*/ 547561 h 757168"/>
                <a:gd name="connsiteX127" fmla="*/ 7522274 w 12192000"/>
                <a:gd name="connsiteY127" fmla="*/ 532150 h 757168"/>
                <a:gd name="connsiteX128" fmla="*/ 7484080 w 12192000"/>
                <a:gd name="connsiteY128" fmla="*/ 530532 h 757168"/>
                <a:gd name="connsiteX129" fmla="*/ 7282277 w 12192000"/>
                <a:gd name="connsiteY129" fmla="*/ 540177 h 757168"/>
                <a:gd name="connsiteX130" fmla="*/ 7235690 w 12192000"/>
                <a:gd name="connsiteY130" fmla="*/ 551282 h 757168"/>
                <a:gd name="connsiteX131" fmla="*/ 7116339 w 12192000"/>
                <a:gd name="connsiteY131" fmla="*/ 539494 h 757168"/>
                <a:gd name="connsiteX132" fmla="*/ 7011067 w 12192000"/>
                <a:gd name="connsiteY132" fmla="*/ 511848 h 757168"/>
                <a:gd name="connsiteX133" fmla="*/ 6403234 w 12192000"/>
                <a:gd name="connsiteY133" fmla="*/ 432296 h 757168"/>
                <a:gd name="connsiteX134" fmla="*/ 6036273 w 12192000"/>
                <a:gd name="connsiteY134" fmla="*/ 412301 h 757168"/>
                <a:gd name="connsiteX135" fmla="*/ 5780467 w 12192000"/>
                <a:gd name="connsiteY135" fmla="*/ 377910 h 757168"/>
                <a:gd name="connsiteX136" fmla="*/ 5739051 w 12192000"/>
                <a:gd name="connsiteY136" fmla="*/ 353609 h 757168"/>
                <a:gd name="connsiteX137" fmla="*/ 5583566 w 12192000"/>
                <a:gd name="connsiteY137" fmla="*/ 321995 h 757168"/>
                <a:gd name="connsiteX138" fmla="*/ 5432030 w 12192000"/>
                <a:gd name="connsiteY138" fmla="*/ 362512 h 757168"/>
                <a:gd name="connsiteX139" fmla="*/ 5241398 w 12192000"/>
                <a:gd name="connsiteY139" fmla="*/ 425781 h 757168"/>
                <a:gd name="connsiteX140" fmla="*/ 5139710 w 12192000"/>
                <a:gd name="connsiteY140" fmla="*/ 421022 h 757168"/>
                <a:gd name="connsiteX141" fmla="*/ 4929402 w 12192000"/>
                <a:gd name="connsiteY141" fmla="*/ 424310 h 757168"/>
                <a:gd name="connsiteX142" fmla="*/ 4782793 w 12192000"/>
                <a:gd name="connsiteY142" fmla="*/ 441046 h 757168"/>
                <a:gd name="connsiteX143" fmla="*/ 4577594 w 12192000"/>
                <a:gd name="connsiteY143" fmla="*/ 459290 h 757168"/>
                <a:gd name="connsiteX144" fmla="*/ 4500826 w 12192000"/>
                <a:gd name="connsiteY144" fmla="*/ 470529 h 757168"/>
                <a:gd name="connsiteX145" fmla="*/ 4317973 w 12192000"/>
                <a:gd name="connsiteY145" fmla="*/ 483649 h 757168"/>
                <a:gd name="connsiteX146" fmla="*/ 4166722 w 12192000"/>
                <a:gd name="connsiteY146" fmla="*/ 490602 h 757168"/>
                <a:gd name="connsiteX147" fmla="*/ 4042814 w 12192000"/>
                <a:gd name="connsiteY147" fmla="*/ 530660 h 757168"/>
                <a:gd name="connsiteX148" fmla="*/ 4002653 w 12192000"/>
                <a:gd name="connsiteY148" fmla="*/ 552594 h 757168"/>
                <a:gd name="connsiteX149" fmla="*/ 3969549 w 12192000"/>
                <a:gd name="connsiteY149" fmla="*/ 566312 h 757168"/>
                <a:gd name="connsiteX150" fmla="*/ 3821685 w 12192000"/>
                <a:gd name="connsiteY150" fmla="*/ 649183 h 757168"/>
                <a:gd name="connsiteX151" fmla="*/ 3805138 w 12192000"/>
                <a:gd name="connsiteY151" fmla="*/ 655947 h 757168"/>
                <a:gd name="connsiteX152" fmla="*/ 3609177 w 12192000"/>
                <a:gd name="connsiteY152" fmla="*/ 687459 h 757168"/>
                <a:gd name="connsiteX153" fmla="*/ 3539727 w 12192000"/>
                <a:gd name="connsiteY153" fmla="*/ 706521 h 757168"/>
                <a:gd name="connsiteX154" fmla="*/ 3396572 w 12192000"/>
                <a:gd name="connsiteY154" fmla="*/ 755681 h 757168"/>
                <a:gd name="connsiteX155" fmla="*/ 3341054 w 12192000"/>
                <a:gd name="connsiteY155" fmla="*/ 754679 h 757168"/>
                <a:gd name="connsiteX156" fmla="*/ 3138775 w 12192000"/>
                <a:gd name="connsiteY156" fmla="*/ 710120 h 757168"/>
                <a:gd name="connsiteX157" fmla="*/ 3037283 w 12192000"/>
                <a:gd name="connsiteY157" fmla="*/ 666453 h 757168"/>
                <a:gd name="connsiteX158" fmla="*/ 3002117 w 12192000"/>
                <a:gd name="connsiteY158" fmla="*/ 649347 h 757168"/>
                <a:gd name="connsiteX159" fmla="*/ 2747294 w 12192000"/>
                <a:gd name="connsiteY159" fmla="*/ 652400 h 757168"/>
                <a:gd name="connsiteX160" fmla="*/ 2676273 w 12192000"/>
                <a:gd name="connsiteY160" fmla="*/ 652304 h 757168"/>
                <a:gd name="connsiteX161" fmla="*/ 2432360 w 12192000"/>
                <a:gd name="connsiteY161" fmla="*/ 657836 h 757168"/>
                <a:gd name="connsiteX162" fmla="*/ 2382311 w 12192000"/>
                <a:gd name="connsiteY162" fmla="*/ 650824 h 757168"/>
                <a:gd name="connsiteX163" fmla="*/ 2055134 w 12192000"/>
                <a:gd name="connsiteY163" fmla="*/ 630053 h 757168"/>
                <a:gd name="connsiteX164" fmla="*/ 2031829 w 12192000"/>
                <a:gd name="connsiteY164" fmla="*/ 639324 h 757168"/>
                <a:gd name="connsiteX165" fmla="*/ 1912764 w 12192000"/>
                <a:gd name="connsiteY165" fmla="*/ 664183 h 757168"/>
                <a:gd name="connsiteX166" fmla="*/ 1755637 w 12192000"/>
                <a:gd name="connsiteY166" fmla="*/ 663960 h 757168"/>
                <a:gd name="connsiteX167" fmla="*/ 1727159 w 12192000"/>
                <a:gd name="connsiteY167" fmla="*/ 659605 h 757168"/>
                <a:gd name="connsiteX168" fmla="*/ 1622470 w 12192000"/>
                <a:gd name="connsiteY168" fmla="*/ 634850 h 757168"/>
                <a:gd name="connsiteX169" fmla="*/ 1385955 w 12192000"/>
                <a:gd name="connsiteY169" fmla="*/ 604522 h 757168"/>
                <a:gd name="connsiteX170" fmla="*/ 1340055 w 12192000"/>
                <a:gd name="connsiteY170" fmla="*/ 595629 h 757168"/>
                <a:gd name="connsiteX171" fmla="*/ 1257271 w 12192000"/>
                <a:gd name="connsiteY171" fmla="*/ 581180 h 757168"/>
                <a:gd name="connsiteX172" fmla="*/ 1031914 w 12192000"/>
                <a:gd name="connsiteY172" fmla="*/ 562692 h 757168"/>
                <a:gd name="connsiteX173" fmla="*/ 922031 w 12192000"/>
                <a:gd name="connsiteY173" fmla="*/ 566853 h 757168"/>
                <a:gd name="connsiteX174" fmla="*/ 873250 w 12192000"/>
                <a:gd name="connsiteY174" fmla="*/ 563724 h 757168"/>
                <a:gd name="connsiteX175" fmla="*/ 711627 w 12192000"/>
                <a:gd name="connsiteY175" fmla="*/ 529880 h 757168"/>
                <a:gd name="connsiteX176" fmla="*/ 311112 w 12192000"/>
                <a:gd name="connsiteY176" fmla="*/ 525106 h 757168"/>
                <a:gd name="connsiteX177" fmla="*/ 184145 w 12192000"/>
                <a:gd name="connsiteY177" fmla="*/ 532188 h 757168"/>
                <a:gd name="connsiteX178" fmla="*/ 116886 w 12192000"/>
                <a:gd name="connsiteY178" fmla="*/ 530572 h 757168"/>
                <a:gd name="connsiteX179" fmla="*/ 23941 w 12192000"/>
                <a:gd name="connsiteY179" fmla="*/ 506433 h 757168"/>
                <a:gd name="connsiteX180" fmla="*/ 0 w 12192000"/>
                <a:gd name="connsiteY180" fmla="*/ 502149 h 75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192000" h="757168">
                  <a:moveTo>
                    <a:pt x="0" y="0"/>
                  </a:moveTo>
                  <a:lnTo>
                    <a:pt x="41653" y="6945"/>
                  </a:lnTo>
                  <a:cubicBezTo>
                    <a:pt x="55151" y="9178"/>
                    <a:pt x="68996" y="11810"/>
                    <a:pt x="81317" y="15509"/>
                  </a:cubicBezTo>
                  <a:cubicBezTo>
                    <a:pt x="92911" y="18978"/>
                    <a:pt x="102562" y="24446"/>
                    <a:pt x="114150" y="28105"/>
                  </a:cubicBezTo>
                  <a:cubicBezTo>
                    <a:pt x="145644" y="37958"/>
                    <a:pt x="177914" y="47281"/>
                    <a:pt x="214865" y="58374"/>
                  </a:cubicBezTo>
                  <a:cubicBezTo>
                    <a:pt x="236680" y="42349"/>
                    <a:pt x="264438" y="53534"/>
                    <a:pt x="299237" y="63560"/>
                  </a:cubicBezTo>
                  <a:cubicBezTo>
                    <a:pt x="334763" y="73816"/>
                    <a:pt x="376093" y="78654"/>
                    <a:pt x="415570" y="83774"/>
                  </a:cubicBezTo>
                  <a:cubicBezTo>
                    <a:pt x="487949" y="93100"/>
                    <a:pt x="560804" y="100354"/>
                    <a:pt x="633210" y="109108"/>
                  </a:cubicBezTo>
                  <a:cubicBezTo>
                    <a:pt x="648566" y="111058"/>
                    <a:pt x="666073" y="114072"/>
                    <a:pt x="677567" y="119446"/>
                  </a:cubicBezTo>
                  <a:cubicBezTo>
                    <a:pt x="756262" y="155621"/>
                    <a:pt x="853422" y="169678"/>
                    <a:pt x="946429" y="171502"/>
                  </a:cubicBezTo>
                  <a:cubicBezTo>
                    <a:pt x="1019582" y="173044"/>
                    <a:pt x="1091239" y="175083"/>
                    <a:pt x="1163367" y="182106"/>
                  </a:cubicBezTo>
                  <a:cubicBezTo>
                    <a:pt x="1168863" y="182586"/>
                    <a:pt x="1176224" y="182589"/>
                    <a:pt x="1180337" y="181279"/>
                  </a:cubicBezTo>
                  <a:cubicBezTo>
                    <a:pt x="1205822" y="172503"/>
                    <a:pt x="1231920" y="173109"/>
                    <a:pt x="1263939" y="173070"/>
                  </a:cubicBezTo>
                  <a:cubicBezTo>
                    <a:pt x="1309211" y="172961"/>
                    <a:pt x="1350592" y="176848"/>
                    <a:pt x="1392213" y="183225"/>
                  </a:cubicBezTo>
                  <a:cubicBezTo>
                    <a:pt x="1422516" y="187866"/>
                    <a:pt x="1453010" y="195759"/>
                    <a:pt x="1479752" y="205174"/>
                  </a:cubicBezTo>
                  <a:cubicBezTo>
                    <a:pt x="1516962" y="218381"/>
                    <a:pt x="1553071" y="224660"/>
                    <a:pt x="1589813" y="211706"/>
                  </a:cubicBezTo>
                  <a:cubicBezTo>
                    <a:pt x="1629541" y="197953"/>
                    <a:pt x="1673292" y="205778"/>
                    <a:pt x="1716264" y="207459"/>
                  </a:cubicBezTo>
                  <a:cubicBezTo>
                    <a:pt x="1734988" y="208248"/>
                    <a:pt x="1754789" y="209668"/>
                    <a:pt x="1772900" y="208137"/>
                  </a:cubicBezTo>
                  <a:cubicBezTo>
                    <a:pt x="1825381" y="203828"/>
                    <a:pt x="1876222" y="195808"/>
                    <a:pt x="1929319" y="193822"/>
                  </a:cubicBezTo>
                  <a:cubicBezTo>
                    <a:pt x="1958819" y="192698"/>
                    <a:pt x="1991232" y="199166"/>
                    <a:pt x="2021514" y="204186"/>
                  </a:cubicBezTo>
                  <a:cubicBezTo>
                    <a:pt x="2052154" y="209417"/>
                    <a:pt x="2082323" y="216530"/>
                    <a:pt x="2111753" y="223797"/>
                  </a:cubicBezTo>
                  <a:cubicBezTo>
                    <a:pt x="2131736" y="228659"/>
                    <a:pt x="2153567" y="233429"/>
                    <a:pt x="2169356" y="241125"/>
                  </a:cubicBezTo>
                  <a:cubicBezTo>
                    <a:pt x="2205243" y="258649"/>
                    <a:pt x="2242901" y="263295"/>
                    <a:pt x="2286638" y="257382"/>
                  </a:cubicBezTo>
                  <a:cubicBezTo>
                    <a:pt x="2293313" y="256396"/>
                    <a:pt x="2301018" y="256799"/>
                    <a:pt x="2308368" y="256995"/>
                  </a:cubicBezTo>
                  <a:cubicBezTo>
                    <a:pt x="2426026" y="259155"/>
                    <a:pt x="2543593" y="262834"/>
                    <a:pt x="2660621" y="262863"/>
                  </a:cubicBezTo>
                  <a:cubicBezTo>
                    <a:pt x="2708088" y="262871"/>
                    <a:pt x="2754165" y="254412"/>
                    <a:pt x="2801134" y="250006"/>
                  </a:cubicBezTo>
                  <a:cubicBezTo>
                    <a:pt x="2810748" y="249174"/>
                    <a:pt x="2821504" y="247638"/>
                    <a:pt x="2830994" y="249091"/>
                  </a:cubicBezTo>
                  <a:cubicBezTo>
                    <a:pt x="2934354" y="264045"/>
                    <a:pt x="3032340" y="255254"/>
                    <a:pt x="3129084" y="242009"/>
                  </a:cubicBezTo>
                  <a:cubicBezTo>
                    <a:pt x="3139090" y="240625"/>
                    <a:pt x="3151170" y="241831"/>
                    <a:pt x="3162162" y="242789"/>
                  </a:cubicBezTo>
                  <a:cubicBezTo>
                    <a:pt x="3192925" y="245736"/>
                    <a:pt x="3225969" y="254145"/>
                    <a:pt x="3254072" y="251612"/>
                  </a:cubicBezTo>
                  <a:cubicBezTo>
                    <a:pt x="3328782" y="244461"/>
                    <a:pt x="3402881" y="234992"/>
                    <a:pt x="3473491" y="221903"/>
                  </a:cubicBezTo>
                  <a:cubicBezTo>
                    <a:pt x="3545212" y="208683"/>
                    <a:pt x="3611651" y="197856"/>
                    <a:pt x="3691860" y="219228"/>
                  </a:cubicBezTo>
                  <a:cubicBezTo>
                    <a:pt x="3725977" y="228268"/>
                    <a:pt x="3771754" y="225515"/>
                    <a:pt x="3811494" y="225691"/>
                  </a:cubicBezTo>
                  <a:cubicBezTo>
                    <a:pt x="3840564" y="225687"/>
                    <a:pt x="3868906" y="218586"/>
                    <a:pt x="3897533" y="220087"/>
                  </a:cubicBezTo>
                  <a:cubicBezTo>
                    <a:pt x="3973874" y="224087"/>
                    <a:pt x="4042293" y="217563"/>
                    <a:pt x="4109430" y="200477"/>
                  </a:cubicBezTo>
                  <a:cubicBezTo>
                    <a:pt x="4135544" y="193834"/>
                    <a:pt x="4175268" y="201258"/>
                    <a:pt x="4208772" y="200914"/>
                  </a:cubicBezTo>
                  <a:cubicBezTo>
                    <a:pt x="4244136" y="200288"/>
                    <a:pt x="4280583" y="199908"/>
                    <a:pt x="4314641" y="196159"/>
                  </a:cubicBezTo>
                  <a:cubicBezTo>
                    <a:pt x="4402743" y="186278"/>
                    <a:pt x="4489848" y="174436"/>
                    <a:pt x="4577622" y="163774"/>
                  </a:cubicBezTo>
                  <a:cubicBezTo>
                    <a:pt x="4649843" y="154967"/>
                    <a:pt x="4719794" y="168553"/>
                    <a:pt x="4790345" y="177592"/>
                  </a:cubicBezTo>
                  <a:cubicBezTo>
                    <a:pt x="4834576" y="183345"/>
                    <a:pt x="4875614" y="193701"/>
                    <a:pt x="4926164" y="184139"/>
                  </a:cubicBezTo>
                  <a:cubicBezTo>
                    <a:pt x="4974485" y="175032"/>
                    <a:pt x="5034899" y="180870"/>
                    <a:pt x="5088812" y="177401"/>
                  </a:cubicBezTo>
                  <a:cubicBezTo>
                    <a:pt x="5134238" y="174439"/>
                    <a:pt x="5178353" y="168165"/>
                    <a:pt x="5222466" y="162082"/>
                  </a:cubicBezTo>
                  <a:cubicBezTo>
                    <a:pt x="5282519" y="153783"/>
                    <a:pt x="5341864" y="144876"/>
                    <a:pt x="5406528" y="153987"/>
                  </a:cubicBezTo>
                  <a:cubicBezTo>
                    <a:pt x="5479960" y="164323"/>
                    <a:pt x="5531876" y="142624"/>
                    <a:pt x="5590716" y="129490"/>
                  </a:cubicBezTo>
                  <a:cubicBezTo>
                    <a:pt x="5631296" y="120553"/>
                    <a:pt x="5675395" y="114659"/>
                    <a:pt x="5719429" y="110099"/>
                  </a:cubicBezTo>
                  <a:cubicBezTo>
                    <a:pt x="5778247" y="104215"/>
                    <a:pt x="5838715" y="102042"/>
                    <a:pt x="5897895" y="96368"/>
                  </a:cubicBezTo>
                  <a:cubicBezTo>
                    <a:pt x="5987399" y="87895"/>
                    <a:pt x="6077855" y="82333"/>
                    <a:pt x="6169957" y="94411"/>
                  </a:cubicBezTo>
                  <a:cubicBezTo>
                    <a:pt x="6212360" y="99875"/>
                    <a:pt x="6252010" y="101763"/>
                    <a:pt x="6294827" y="99236"/>
                  </a:cubicBezTo>
                  <a:cubicBezTo>
                    <a:pt x="6364965" y="95091"/>
                    <a:pt x="6436581" y="97891"/>
                    <a:pt x="6494261" y="71724"/>
                  </a:cubicBezTo>
                  <a:cubicBezTo>
                    <a:pt x="6514615" y="62488"/>
                    <a:pt x="6550354" y="61691"/>
                    <a:pt x="6579627" y="57883"/>
                  </a:cubicBezTo>
                  <a:cubicBezTo>
                    <a:pt x="6613354" y="53353"/>
                    <a:pt x="6637770" y="57878"/>
                    <a:pt x="6654800" y="77086"/>
                  </a:cubicBezTo>
                  <a:cubicBezTo>
                    <a:pt x="6662444" y="85688"/>
                    <a:pt x="6685147" y="94892"/>
                    <a:pt x="6703059" y="97166"/>
                  </a:cubicBezTo>
                  <a:cubicBezTo>
                    <a:pt x="6756799" y="103989"/>
                    <a:pt x="6806654" y="100687"/>
                    <a:pt x="6859445" y="90481"/>
                  </a:cubicBezTo>
                  <a:cubicBezTo>
                    <a:pt x="6908894" y="80861"/>
                    <a:pt x="6969747" y="85387"/>
                    <a:pt x="7025414" y="83536"/>
                  </a:cubicBezTo>
                  <a:cubicBezTo>
                    <a:pt x="7064862" y="82168"/>
                    <a:pt x="7104501" y="77186"/>
                    <a:pt x="7144137" y="79264"/>
                  </a:cubicBezTo>
                  <a:cubicBezTo>
                    <a:pt x="7193316" y="81841"/>
                    <a:pt x="7241809" y="90488"/>
                    <a:pt x="7291235" y="95367"/>
                  </a:cubicBezTo>
                  <a:cubicBezTo>
                    <a:pt x="7329668" y="99288"/>
                    <a:pt x="7368978" y="100585"/>
                    <a:pt x="7407395" y="104888"/>
                  </a:cubicBezTo>
                  <a:cubicBezTo>
                    <a:pt x="7438868" y="108256"/>
                    <a:pt x="7469832" y="114265"/>
                    <a:pt x="7500837" y="119515"/>
                  </a:cubicBezTo>
                  <a:cubicBezTo>
                    <a:pt x="7512146" y="121444"/>
                    <a:pt x="7523255" y="127178"/>
                    <a:pt x="7533567" y="126955"/>
                  </a:cubicBezTo>
                  <a:cubicBezTo>
                    <a:pt x="7636025" y="124121"/>
                    <a:pt x="7707510" y="164497"/>
                    <a:pt x="7792910" y="185188"/>
                  </a:cubicBezTo>
                  <a:cubicBezTo>
                    <a:pt x="7882663" y="207063"/>
                    <a:pt x="7969001" y="237914"/>
                    <a:pt x="8070699" y="235423"/>
                  </a:cubicBezTo>
                  <a:cubicBezTo>
                    <a:pt x="8132239" y="233879"/>
                    <a:pt x="8191903" y="225939"/>
                    <a:pt x="8253177" y="222473"/>
                  </a:cubicBezTo>
                  <a:cubicBezTo>
                    <a:pt x="8274949" y="221324"/>
                    <a:pt x="8299150" y="222976"/>
                    <a:pt x="8320683" y="226393"/>
                  </a:cubicBezTo>
                  <a:cubicBezTo>
                    <a:pt x="8424731" y="242340"/>
                    <a:pt x="8527777" y="249266"/>
                    <a:pt x="8631438" y="237528"/>
                  </a:cubicBezTo>
                  <a:cubicBezTo>
                    <a:pt x="8649201" y="235596"/>
                    <a:pt x="8668058" y="233915"/>
                    <a:pt x="8686410" y="234877"/>
                  </a:cubicBezTo>
                  <a:cubicBezTo>
                    <a:pt x="8786966" y="240146"/>
                    <a:pt x="8885480" y="249315"/>
                    <a:pt x="8980658" y="273001"/>
                  </a:cubicBezTo>
                  <a:cubicBezTo>
                    <a:pt x="9012626" y="280972"/>
                    <a:pt x="9052108" y="279035"/>
                    <a:pt x="9087625" y="282423"/>
                  </a:cubicBezTo>
                  <a:cubicBezTo>
                    <a:pt x="9120583" y="285484"/>
                    <a:pt x="9154319" y="287825"/>
                    <a:pt x="9186017" y="293875"/>
                  </a:cubicBezTo>
                  <a:cubicBezTo>
                    <a:pt x="9232288" y="302785"/>
                    <a:pt x="9275554" y="305815"/>
                    <a:pt x="9323931" y="302628"/>
                  </a:cubicBezTo>
                  <a:cubicBezTo>
                    <a:pt x="9370084" y="299705"/>
                    <a:pt x="9419491" y="304964"/>
                    <a:pt x="9467213" y="307275"/>
                  </a:cubicBezTo>
                  <a:cubicBezTo>
                    <a:pt x="9520438" y="309874"/>
                    <a:pt x="9573661" y="312473"/>
                    <a:pt x="9626826" y="316213"/>
                  </a:cubicBezTo>
                  <a:cubicBezTo>
                    <a:pt x="9648094" y="317708"/>
                    <a:pt x="9671915" y="326588"/>
                    <a:pt x="9689696" y="324467"/>
                  </a:cubicBezTo>
                  <a:cubicBezTo>
                    <a:pt x="9747117" y="317175"/>
                    <a:pt x="9803355" y="332523"/>
                    <a:pt x="9860526" y="329986"/>
                  </a:cubicBezTo>
                  <a:cubicBezTo>
                    <a:pt x="9888572" y="328594"/>
                    <a:pt x="9919723" y="338048"/>
                    <a:pt x="9949775" y="340386"/>
                  </a:cubicBezTo>
                  <a:cubicBezTo>
                    <a:pt x="9998886" y="344296"/>
                    <a:pt x="10048092" y="346302"/>
                    <a:pt x="10097252" y="349262"/>
                  </a:cubicBezTo>
                  <a:cubicBezTo>
                    <a:pt x="10113390" y="350297"/>
                    <a:pt x="10129133" y="351886"/>
                    <a:pt x="10145261" y="353113"/>
                  </a:cubicBezTo>
                  <a:cubicBezTo>
                    <a:pt x="10159555" y="354243"/>
                    <a:pt x="10174512" y="356743"/>
                    <a:pt x="10188159" y="356124"/>
                  </a:cubicBezTo>
                  <a:cubicBezTo>
                    <a:pt x="10237589" y="353944"/>
                    <a:pt x="10286441" y="348682"/>
                    <a:pt x="10336144" y="348235"/>
                  </a:cubicBezTo>
                  <a:cubicBezTo>
                    <a:pt x="10379222" y="347822"/>
                    <a:pt x="10423443" y="353764"/>
                    <a:pt x="10466847" y="354131"/>
                  </a:cubicBezTo>
                  <a:cubicBezTo>
                    <a:pt x="10543353" y="354898"/>
                    <a:pt x="10619988" y="353190"/>
                    <a:pt x="10696514" y="353575"/>
                  </a:cubicBezTo>
                  <a:cubicBezTo>
                    <a:pt x="10713071" y="353680"/>
                    <a:pt x="10730069" y="359342"/>
                    <a:pt x="10746932" y="360606"/>
                  </a:cubicBezTo>
                  <a:cubicBezTo>
                    <a:pt x="10799731" y="364326"/>
                    <a:pt x="10852569" y="367289"/>
                    <a:pt x="10905388" y="370627"/>
                  </a:cubicBezTo>
                  <a:cubicBezTo>
                    <a:pt x="10935470" y="372396"/>
                    <a:pt x="10965963" y="373421"/>
                    <a:pt x="10995602" y="376691"/>
                  </a:cubicBezTo>
                  <a:cubicBezTo>
                    <a:pt x="11034750" y="381032"/>
                    <a:pt x="11070168" y="386324"/>
                    <a:pt x="11107647" y="373405"/>
                  </a:cubicBezTo>
                  <a:cubicBezTo>
                    <a:pt x="11165372" y="353347"/>
                    <a:pt x="11236837" y="366060"/>
                    <a:pt x="11302440" y="364156"/>
                  </a:cubicBezTo>
                  <a:cubicBezTo>
                    <a:pt x="11319394" y="363708"/>
                    <a:pt x="11336655" y="364422"/>
                    <a:pt x="11353613" y="363785"/>
                  </a:cubicBezTo>
                  <a:cubicBezTo>
                    <a:pt x="11384961" y="362566"/>
                    <a:pt x="11415955" y="360947"/>
                    <a:pt x="11447323" y="359346"/>
                  </a:cubicBezTo>
                  <a:cubicBezTo>
                    <a:pt x="11452855" y="359066"/>
                    <a:pt x="11459104" y="359200"/>
                    <a:pt x="11464292" y="358519"/>
                  </a:cubicBezTo>
                  <a:cubicBezTo>
                    <a:pt x="11512058" y="353010"/>
                    <a:pt x="11559143" y="346321"/>
                    <a:pt x="11607560" y="342370"/>
                  </a:cubicBezTo>
                  <a:cubicBezTo>
                    <a:pt x="11631218" y="340368"/>
                    <a:pt x="11657295" y="341352"/>
                    <a:pt x="11681426" y="344335"/>
                  </a:cubicBezTo>
                  <a:cubicBezTo>
                    <a:pt x="11751997" y="352993"/>
                    <a:pt x="11821986" y="358760"/>
                    <a:pt x="11893565" y="355261"/>
                  </a:cubicBezTo>
                  <a:cubicBezTo>
                    <a:pt x="11921973" y="353889"/>
                    <a:pt x="11953288" y="360300"/>
                    <a:pt x="11983290" y="363588"/>
                  </a:cubicBezTo>
                  <a:lnTo>
                    <a:pt x="12192000" y="388018"/>
                  </a:lnTo>
                  <a:lnTo>
                    <a:pt x="12192000" y="577115"/>
                  </a:lnTo>
                  <a:lnTo>
                    <a:pt x="12157329" y="588862"/>
                  </a:lnTo>
                  <a:cubicBezTo>
                    <a:pt x="12118393" y="608572"/>
                    <a:pt x="12109715" y="605637"/>
                    <a:pt x="12066948" y="586034"/>
                  </a:cubicBezTo>
                  <a:cubicBezTo>
                    <a:pt x="12016991" y="563193"/>
                    <a:pt x="11965119" y="541779"/>
                    <a:pt x="11911344" y="521599"/>
                  </a:cubicBezTo>
                  <a:cubicBezTo>
                    <a:pt x="11894383" y="515178"/>
                    <a:pt x="11869417" y="514060"/>
                    <a:pt x="11847823" y="511785"/>
                  </a:cubicBezTo>
                  <a:cubicBezTo>
                    <a:pt x="11811233" y="507768"/>
                    <a:pt x="11773630" y="501982"/>
                    <a:pt x="11737547" y="502380"/>
                  </a:cubicBezTo>
                  <a:cubicBezTo>
                    <a:pt x="11702930" y="502855"/>
                    <a:pt x="11668388" y="508866"/>
                    <a:pt x="11636052" y="514993"/>
                  </a:cubicBezTo>
                  <a:cubicBezTo>
                    <a:pt x="11545722" y="532199"/>
                    <a:pt x="11462455" y="555118"/>
                    <a:pt x="11394706" y="590867"/>
                  </a:cubicBezTo>
                  <a:cubicBezTo>
                    <a:pt x="11385999" y="595562"/>
                    <a:pt x="11369016" y="596581"/>
                    <a:pt x="11354978" y="597561"/>
                  </a:cubicBezTo>
                  <a:cubicBezTo>
                    <a:pt x="11332076" y="599224"/>
                    <a:pt x="11308448" y="600655"/>
                    <a:pt x="11285306" y="599825"/>
                  </a:cubicBezTo>
                  <a:cubicBezTo>
                    <a:pt x="11172906" y="595841"/>
                    <a:pt x="11083430" y="617861"/>
                    <a:pt x="11008528" y="656670"/>
                  </a:cubicBezTo>
                  <a:cubicBezTo>
                    <a:pt x="10986971" y="667750"/>
                    <a:pt x="10970753" y="668236"/>
                    <a:pt x="10948735" y="652964"/>
                  </a:cubicBezTo>
                  <a:cubicBezTo>
                    <a:pt x="10923173" y="635218"/>
                    <a:pt x="10885031" y="639705"/>
                    <a:pt x="10850698" y="641721"/>
                  </a:cubicBezTo>
                  <a:cubicBezTo>
                    <a:pt x="10815269" y="643680"/>
                    <a:pt x="10779458" y="645811"/>
                    <a:pt x="10744026" y="647769"/>
                  </a:cubicBezTo>
                  <a:cubicBezTo>
                    <a:pt x="10717832" y="649066"/>
                    <a:pt x="10692021" y="650003"/>
                    <a:pt x="10666160" y="651891"/>
                  </a:cubicBezTo>
                  <a:cubicBezTo>
                    <a:pt x="10585627" y="657783"/>
                    <a:pt x="10513854" y="650969"/>
                    <a:pt x="10450521" y="616552"/>
                  </a:cubicBezTo>
                  <a:cubicBezTo>
                    <a:pt x="10402221" y="590175"/>
                    <a:pt x="10339099" y="579806"/>
                    <a:pt x="10271192" y="583498"/>
                  </a:cubicBezTo>
                  <a:cubicBezTo>
                    <a:pt x="10262701" y="584006"/>
                    <a:pt x="10251859" y="587254"/>
                    <a:pt x="10246067" y="585423"/>
                  </a:cubicBezTo>
                  <a:cubicBezTo>
                    <a:pt x="10158786" y="558528"/>
                    <a:pt x="10086634" y="594049"/>
                    <a:pt x="10005027" y="592252"/>
                  </a:cubicBezTo>
                  <a:cubicBezTo>
                    <a:pt x="9969004" y="591507"/>
                    <a:pt x="9931565" y="603664"/>
                    <a:pt x="9898681" y="613195"/>
                  </a:cubicBezTo>
                  <a:cubicBezTo>
                    <a:pt x="9853463" y="626281"/>
                    <a:pt x="9813049" y="639042"/>
                    <a:pt x="9753225" y="629038"/>
                  </a:cubicBezTo>
                  <a:cubicBezTo>
                    <a:pt x="9693404" y="618845"/>
                    <a:pt x="9637675" y="628898"/>
                    <a:pt x="9591376" y="648601"/>
                  </a:cubicBezTo>
                  <a:cubicBezTo>
                    <a:pt x="9556001" y="663537"/>
                    <a:pt x="9518120" y="663077"/>
                    <a:pt x="9472860" y="655936"/>
                  </a:cubicBezTo>
                  <a:cubicBezTo>
                    <a:pt x="9416283" y="647056"/>
                    <a:pt x="9357217" y="643578"/>
                    <a:pt x="9299788" y="636945"/>
                  </a:cubicBezTo>
                  <a:cubicBezTo>
                    <a:pt x="9287347" y="635531"/>
                    <a:pt x="9271710" y="632039"/>
                    <a:pt x="9264605" y="627087"/>
                  </a:cubicBezTo>
                  <a:cubicBezTo>
                    <a:pt x="9177661" y="565680"/>
                    <a:pt x="9051076" y="558473"/>
                    <a:pt x="8926435" y="549269"/>
                  </a:cubicBezTo>
                  <a:cubicBezTo>
                    <a:pt x="8850925" y="543595"/>
                    <a:pt x="8774954" y="539613"/>
                    <a:pt x="8698934" y="536583"/>
                  </a:cubicBezTo>
                  <a:cubicBezTo>
                    <a:pt x="8673232" y="535428"/>
                    <a:pt x="8645916" y="537050"/>
                    <a:pt x="8622862" y="541563"/>
                  </a:cubicBezTo>
                  <a:cubicBezTo>
                    <a:pt x="8574890" y="551069"/>
                    <a:pt x="8530403" y="564380"/>
                    <a:pt x="8482784" y="574094"/>
                  </a:cubicBezTo>
                  <a:cubicBezTo>
                    <a:pt x="8464923" y="577929"/>
                    <a:pt x="8442157" y="576927"/>
                    <a:pt x="8421565" y="576610"/>
                  </a:cubicBezTo>
                  <a:cubicBezTo>
                    <a:pt x="8385152" y="576229"/>
                    <a:pt x="8345023" y="569546"/>
                    <a:pt x="8313469" y="574762"/>
                  </a:cubicBezTo>
                  <a:cubicBezTo>
                    <a:pt x="8231431" y="588203"/>
                    <a:pt x="8155671" y="580227"/>
                    <a:pt x="8079520" y="558685"/>
                  </a:cubicBezTo>
                  <a:cubicBezTo>
                    <a:pt x="7972906" y="528487"/>
                    <a:pt x="7870782" y="525043"/>
                    <a:pt x="7773327" y="558854"/>
                  </a:cubicBezTo>
                  <a:cubicBezTo>
                    <a:pt x="7729470" y="574107"/>
                    <a:pt x="7688069" y="563543"/>
                    <a:pt x="7652477" y="547561"/>
                  </a:cubicBezTo>
                  <a:cubicBezTo>
                    <a:pt x="7611494" y="529005"/>
                    <a:pt x="7570974" y="522685"/>
                    <a:pt x="7522274" y="532150"/>
                  </a:cubicBezTo>
                  <a:cubicBezTo>
                    <a:pt x="7511488" y="534257"/>
                    <a:pt x="7496511" y="532136"/>
                    <a:pt x="7484080" y="530532"/>
                  </a:cubicBezTo>
                  <a:cubicBezTo>
                    <a:pt x="7413133" y="522044"/>
                    <a:pt x="7341987" y="510303"/>
                    <a:pt x="7282277" y="540177"/>
                  </a:cubicBezTo>
                  <a:cubicBezTo>
                    <a:pt x="7270558" y="546051"/>
                    <a:pt x="7251336" y="547713"/>
                    <a:pt x="7235690" y="551282"/>
                  </a:cubicBezTo>
                  <a:cubicBezTo>
                    <a:pt x="7170161" y="565782"/>
                    <a:pt x="7172820" y="564203"/>
                    <a:pt x="7116339" y="539494"/>
                  </a:cubicBezTo>
                  <a:cubicBezTo>
                    <a:pt x="7086841" y="526502"/>
                    <a:pt x="7045980" y="512724"/>
                    <a:pt x="7011067" y="511848"/>
                  </a:cubicBezTo>
                  <a:cubicBezTo>
                    <a:pt x="6800473" y="506533"/>
                    <a:pt x="6601893" y="468653"/>
                    <a:pt x="6403234" y="432296"/>
                  </a:cubicBezTo>
                  <a:cubicBezTo>
                    <a:pt x="6280760" y="409851"/>
                    <a:pt x="6160432" y="402592"/>
                    <a:pt x="6036273" y="412301"/>
                  </a:cubicBezTo>
                  <a:cubicBezTo>
                    <a:pt x="5946471" y="419425"/>
                    <a:pt x="5863077" y="395593"/>
                    <a:pt x="5780467" y="377910"/>
                  </a:cubicBezTo>
                  <a:cubicBezTo>
                    <a:pt x="5763357" y="374343"/>
                    <a:pt x="5747757" y="363033"/>
                    <a:pt x="5739051" y="353609"/>
                  </a:cubicBezTo>
                  <a:cubicBezTo>
                    <a:pt x="5707675" y="320294"/>
                    <a:pt x="5653252" y="312483"/>
                    <a:pt x="5583566" y="321995"/>
                  </a:cubicBezTo>
                  <a:cubicBezTo>
                    <a:pt x="5528347" y="329404"/>
                    <a:pt x="5477716" y="340486"/>
                    <a:pt x="5432030" y="362512"/>
                  </a:cubicBezTo>
                  <a:cubicBezTo>
                    <a:pt x="5378421" y="388318"/>
                    <a:pt x="5322767" y="418026"/>
                    <a:pt x="5241398" y="425781"/>
                  </a:cubicBezTo>
                  <a:cubicBezTo>
                    <a:pt x="5206262" y="429089"/>
                    <a:pt x="5176131" y="428273"/>
                    <a:pt x="5139710" y="421022"/>
                  </a:cubicBezTo>
                  <a:cubicBezTo>
                    <a:pt x="5069048" y="407018"/>
                    <a:pt x="4997864" y="396037"/>
                    <a:pt x="4929402" y="424310"/>
                  </a:cubicBezTo>
                  <a:cubicBezTo>
                    <a:pt x="4891785" y="439890"/>
                    <a:pt x="4841650" y="448519"/>
                    <a:pt x="4782793" y="441046"/>
                  </a:cubicBezTo>
                  <a:cubicBezTo>
                    <a:pt x="4709316" y="431663"/>
                    <a:pt x="4641426" y="442031"/>
                    <a:pt x="4577594" y="459290"/>
                  </a:cubicBezTo>
                  <a:cubicBezTo>
                    <a:pt x="4554816" y="465538"/>
                    <a:pt x="4527069" y="468279"/>
                    <a:pt x="4500826" y="470529"/>
                  </a:cubicBezTo>
                  <a:cubicBezTo>
                    <a:pt x="4440199" y="475746"/>
                    <a:pt x="4379252" y="479993"/>
                    <a:pt x="4317973" y="483649"/>
                  </a:cubicBezTo>
                  <a:cubicBezTo>
                    <a:pt x="4267762" y="486741"/>
                    <a:pt x="4217264" y="488292"/>
                    <a:pt x="4166722" y="490602"/>
                  </a:cubicBezTo>
                  <a:cubicBezTo>
                    <a:pt x="4111394" y="493045"/>
                    <a:pt x="4067073" y="503124"/>
                    <a:pt x="4042814" y="530660"/>
                  </a:cubicBezTo>
                  <a:cubicBezTo>
                    <a:pt x="4034996" y="539407"/>
                    <a:pt x="4017001" y="545715"/>
                    <a:pt x="4002653" y="552594"/>
                  </a:cubicBezTo>
                  <a:cubicBezTo>
                    <a:pt x="3992459" y="557592"/>
                    <a:pt x="3979023" y="561086"/>
                    <a:pt x="3969549" y="566312"/>
                  </a:cubicBezTo>
                  <a:cubicBezTo>
                    <a:pt x="3919896" y="593854"/>
                    <a:pt x="3870968" y="621622"/>
                    <a:pt x="3821685" y="649183"/>
                  </a:cubicBezTo>
                  <a:cubicBezTo>
                    <a:pt x="3816761" y="651788"/>
                    <a:pt x="3811445" y="654943"/>
                    <a:pt x="3805138" y="655947"/>
                  </a:cubicBezTo>
                  <a:cubicBezTo>
                    <a:pt x="3739817" y="666451"/>
                    <a:pt x="3673801" y="676154"/>
                    <a:pt x="3609177" y="687459"/>
                  </a:cubicBezTo>
                  <a:cubicBezTo>
                    <a:pt x="3584288" y="691878"/>
                    <a:pt x="3558597" y="697589"/>
                    <a:pt x="3539727" y="706521"/>
                  </a:cubicBezTo>
                  <a:cubicBezTo>
                    <a:pt x="3496714" y="726780"/>
                    <a:pt x="3457268" y="749132"/>
                    <a:pt x="3396572" y="755681"/>
                  </a:cubicBezTo>
                  <a:cubicBezTo>
                    <a:pt x="3378807" y="757611"/>
                    <a:pt x="3357809" y="758036"/>
                    <a:pt x="3341054" y="754679"/>
                  </a:cubicBezTo>
                  <a:cubicBezTo>
                    <a:pt x="3272962" y="740809"/>
                    <a:pt x="3206471" y="724541"/>
                    <a:pt x="3138775" y="710120"/>
                  </a:cubicBezTo>
                  <a:cubicBezTo>
                    <a:pt x="3095820" y="701191"/>
                    <a:pt x="3056969" y="691141"/>
                    <a:pt x="3037283" y="666453"/>
                  </a:cubicBezTo>
                  <a:cubicBezTo>
                    <a:pt x="3031764" y="659487"/>
                    <a:pt x="3015626" y="651391"/>
                    <a:pt x="3002117" y="649347"/>
                  </a:cubicBezTo>
                  <a:cubicBezTo>
                    <a:pt x="2915220" y="636209"/>
                    <a:pt x="2829194" y="627503"/>
                    <a:pt x="2747294" y="652400"/>
                  </a:cubicBezTo>
                  <a:cubicBezTo>
                    <a:pt x="2730084" y="657794"/>
                    <a:pt x="2698519" y="656140"/>
                    <a:pt x="2676273" y="652304"/>
                  </a:cubicBezTo>
                  <a:cubicBezTo>
                    <a:pt x="2590546" y="637890"/>
                    <a:pt x="2508883" y="630176"/>
                    <a:pt x="2432360" y="657836"/>
                  </a:cubicBezTo>
                  <a:cubicBezTo>
                    <a:pt x="2423352" y="661179"/>
                    <a:pt x="2395274" y="656272"/>
                    <a:pt x="2382311" y="650824"/>
                  </a:cubicBezTo>
                  <a:cubicBezTo>
                    <a:pt x="2257393" y="597728"/>
                    <a:pt x="2187724" y="592930"/>
                    <a:pt x="2055134" y="630053"/>
                  </a:cubicBezTo>
                  <a:cubicBezTo>
                    <a:pt x="2046542" y="632464"/>
                    <a:pt x="2035364" y="635121"/>
                    <a:pt x="2031829" y="639324"/>
                  </a:cubicBezTo>
                  <a:cubicBezTo>
                    <a:pt x="2007977" y="666120"/>
                    <a:pt x="1960229" y="664380"/>
                    <a:pt x="1912764" y="664183"/>
                  </a:cubicBezTo>
                  <a:cubicBezTo>
                    <a:pt x="1860521" y="663924"/>
                    <a:pt x="1808236" y="664426"/>
                    <a:pt x="1755637" y="663960"/>
                  </a:cubicBezTo>
                  <a:cubicBezTo>
                    <a:pt x="1746439" y="663859"/>
                    <a:pt x="1736243" y="661799"/>
                    <a:pt x="1727159" y="659605"/>
                  </a:cubicBezTo>
                  <a:cubicBezTo>
                    <a:pt x="1692256" y="651480"/>
                    <a:pt x="1658604" y="640559"/>
                    <a:pt x="1622470" y="634850"/>
                  </a:cubicBezTo>
                  <a:cubicBezTo>
                    <a:pt x="1544362" y="622552"/>
                    <a:pt x="1469248" y="602210"/>
                    <a:pt x="1385955" y="604522"/>
                  </a:cubicBezTo>
                  <a:cubicBezTo>
                    <a:pt x="1371585" y="604913"/>
                    <a:pt x="1355357" y="598530"/>
                    <a:pt x="1340055" y="595629"/>
                  </a:cubicBezTo>
                  <a:cubicBezTo>
                    <a:pt x="1312351" y="590552"/>
                    <a:pt x="1285460" y="583993"/>
                    <a:pt x="1257271" y="581180"/>
                  </a:cubicBezTo>
                  <a:cubicBezTo>
                    <a:pt x="1182583" y="573830"/>
                    <a:pt x="1107142" y="566824"/>
                    <a:pt x="1031914" y="562692"/>
                  </a:cubicBezTo>
                  <a:cubicBezTo>
                    <a:pt x="995593" y="560597"/>
                    <a:pt x="958880" y="565923"/>
                    <a:pt x="922031" y="566853"/>
                  </a:cubicBezTo>
                  <a:cubicBezTo>
                    <a:pt x="905446" y="567320"/>
                    <a:pt x="878533" y="568199"/>
                    <a:pt x="873250" y="563724"/>
                  </a:cubicBezTo>
                  <a:cubicBezTo>
                    <a:pt x="832343" y="529722"/>
                    <a:pt x="772202" y="532674"/>
                    <a:pt x="711627" y="529880"/>
                  </a:cubicBezTo>
                  <a:cubicBezTo>
                    <a:pt x="577999" y="523641"/>
                    <a:pt x="447408" y="543696"/>
                    <a:pt x="311112" y="525106"/>
                  </a:cubicBezTo>
                  <a:cubicBezTo>
                    <a:pt x="271645" y="519795"/>
                    <a:pt x="226936" y="530235"/>
                    <a:pt x="184145" y="532188"/>
                  </a:cubicBezTo>
                  <a:cubicBezTo>
                    <a:pt x="162015" y="533128"/>
                    <a:pt x="137665" y="534333"/>
                    <a:pt x="116886" y="530572"/>
                  </a:cubicBezTo>
                  <a:cubicBezTo>
                    <a:pt x="84810" y="524693"/>
                    <a:pt x="54011" y="515448"/>
                    <a:pt x="23941" y="506433"/>
                  </a:cubicBezTo>
                  <a:lnTo>
                    <a:pt x="0" y="502149"/>
                  </a:lnTo>
                  <a:close/>
                </a:path>
              </a:pathLst>
            </a:custGeom>
            <a:solidFill>
              <a:srgbClr val="FFFFFF"/>
            </a:solidFill>
            <a:ln w="12700" cap="flat" cmpd="sng" algn="ctr">
              <a:noFill/>
              <a:prstDash val="solid"/>
              <a:miter lim="800000"/>
            </a:ln>
            <a:effectLst>
              <a:outerShdw blurRad="381000" dist="152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Freeform: Shape 27">
              <a:extLst>
                <a:ext uri="{FF2B5EF4-FFF2-40B4-BE49-F238E27FC236}">
                  <a16:creationId xmlns:a16="http://schemas.microsoft.com/office/drawing/2014/main" id="{840A04EE-8E37-4C28-B09B-A9593A4AAB0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959818"/>
              <a:ext cx="12192000" cy="757168"/>
            </a:xfrm>
            <a:custGeom>
              <a:avLst/>
              <a:gdLst>
                <a:gd name="connsiteX0" fmla="*/ 0 w 12192000"/>
                <a:gd name="connsiteY0" fmla="*/ 0 h 757168"/>
                <a:gd name="connsiteX1" fmla="*/ 41653 w 12192000"/>
                <a:gd name="connsiteY1" fmla="*/ 6945 h 757168"/>
                <a:gd name="connsiteX2" fmla="*/ 81317 w 12192000"/>
                <a:gd name="connsiteY2" fmla="*/ 15509 h 757168"/>
                <a:gd name="connsiteX3" fmla="*/ 114150 w 12192000"/>
                <a:gd name="connsiteY3" fmla="*/ 28105 h 757168"/>
                <a:gd name="connsiteX4" fmla="*/ 214865 w 12192000"/>
                <a:gd name="connsiteY4" fmla="*/ 58374 h 757168"/>
                <a:gd name="connsiteX5" fmla="*/ 299237 w 12192000"/>
                <a:gd name="connsiteY5" fmla="*/ 63560 h 757168"/>
                <a:gd name="connsiteX6" fmla="*/ 415570 w 12192000"/>
                <a:gd name="connsiteY6" fmla="*/ 83774 h 757168"/>
                <a:gd name="connsiteX7" fmla="*/ 633210 w 12192000"/>
                <a:gd name="connsiteY7" fmla="*/ 109108 h 757168"/>
                <a:gd name="connsiteX8" fmla="*/ 677567 w 12192000"/>
                <a:gd name="connsiteY8" fmla="*/ 119446 h 757168"/>
                <a:gd name="connsiteX9" fmla="*/ 946429 w 12192000"/>
                <a:gd name="connsiteY9" fmla="*/ 171502 h 757168"/>
                <a:gd name="connsiteX10" fmla="*/ 1163367 w 12192000"/>
                <a:gd name="connsiteY10" fmla="*/ 182106 h 757168"/>
                <a:gd name="connsiteX11" fmla="*/ 1180337 w 12192000"/>
                <a:gd name="connsiteY11" fmla="*/ 181279 h 757168"/>
                <a:gd name="connsiteX12" fmla="*/ 1263939 w 12192000"/>
                <a:gd name="connsiteY12" fmla="*/ 173070 h 757168"/>
                <a:gd name="connsiteX13" fmla="*/ 1392213 w 12192000"/>
                <a:gd name="connsiteY13" fmla="*/ 183225 h 757168"/>
                <a:gd name="connsiteX14" fmla="*/ 1479752 w 12192000"/>
                <a:gd name="connsiteY14" fmla="*/ 205174 h 757168"/>
                <a:gd name="connsiteX15" fmla="*/ 1589813 w 12192000"/>
                <a:gd name="connsiteY15" fmla="*/ 211706 h 757168"/>
                <a:gd name="connsiteX16" fmla="*/ 1716264 w 12192000"/>
                <a:gd name="connsiteY16" fmla="*/ 207459 h 757168"/>
                <a:gd name="connsiteX17" fmla="*/ 1772900 w 12192000"/>
                <a:gd name="connsiteY17" fmla="*/ 208137 h 757168"/>
                <a:gd name="connsiteX18" fmla="*/ 1929319 w 12192000"/>
                <a:gd name="connsiteY18" fmla="*/ 193822 h 757168"/>
                <a:gd name="connsiteX19" fmla="*/ 2021514 w 12192000"/>
                <a:gd name="connsiteY19" fmla="*/ 204186 h 757168"/>
                <a:gd name="connsiteX20" fmla="*/ 2111753 w 12192000"/>
                <a:gd name="connsiteY20" fmla="*/ 223797 h 757168"/>
                <a:gd name="connsiteX21" fmla="*/ 2169356 w 12192000"/>
                <a:gd name="connsiteY21" fmla="*/ 241125 h 757168"/>
                <a:gd name="connsiteX22" fmla="*/ 2286638 w 12192000"/>
                <a:gd name="connsiteY22" fmla="*/ 257382 h 757168"/>
                <a:gd name="connsiteX23" fmla="*/ 2308368 w 12192000"/>
                <a:gd name="connsiteY23" fmla="*/ 256995 h 757168"/>
                <a:gd name="connsiteX24" fmla="*/ 2660621 w 12192000"/>
                <a:gd name="connsiteY24" fmla="*/ 262863 h 757168"/>
                <a:gd name="connsiteX25" fmla="*/ 2801134 w 12192000"/>
                <a:gd name="connsiteY25" fmla="*/ 250006 h 757168"/>
                <a:gd name="connsiteX26" fmla="*/ 2830994 w 12192000"/>
                <a:gd name="connsiteY26" fmla="*/ 249091 h 757168"/>
                <a:gd name="connsiteX27" fmla="*/ 3129084 w 12192000"/>
                <a:gd name="connsiteY27" fmla="*/ 242009 h 757168"/>
                <a:gd name="connsiteX28" fmla="*/ 3162162 w 12192000"/>
                <a:gd name="connsiteY28" fmla="*/ 242789 h 757168"/>
                <a:gd name="connsiteX29" fmla="*/ 3254072 w 12192000"/>
                <a:gd name="connsiteY29" fmla="*/ 251612 h 757168"/>
                <a:gd name="connsiteX30" fmla="*/ 3473491 w 12192000"/>
                <a:gd name="connsiteY30" fmla="*/ 221903 h 757168"/>
                <a:gd name="connsiteX31" fmla="*/ 3691860 w 12192000"/>
                <a:gd name="connsiteY31" fmla="*/ 219228 h 757168"/>
                <a:gd name="connsiteX32" fmla="*/ 3811494 w 12192000"/>
                <a:gd name="connsiteY32" fmla="*/ 225691 h 757168"/>
                <a:gd name="connsiteX33" fmla="*/ 3897533 w 12192000"/>
                <a:gd name="connsiteY33" fmla="*/ 220087 h 757168"/>
                <a:gd name="connsiteX34" fmla="*/ 4109430 w 12192000"/>
                <a:gd name="connsiteY34" fmla="*/ 200477 h 757168"/>
                <a:gd name="connsiteX35" fmla="*/ 4208772 w 12192000"/>
                <a:gd name="connsiteY35" fmla="*/ 200914 h 757168"/>
                <a:gd name="connsiteX36" fmla="*/ 4314641 w 12192000"/>
                <a:gd name="connsiteY36" fmla="*/ 196159 h 757168"/>
                <a:gd name="connsiteX37" fmla="*/ 4577622 w 12192000"/>
                <a:gd name="connsiteY37" fmla="*/ 163774 h 757168"/>
                <a:gd name="connsiteX38" fmla="*/ 4790345 w 12192000"/>
                <a:gd name="connsiteY38" fmla="*/ 177592 h 757168"/>
                <a:gd name="connsiteX39" fmla="*/ 4926164 w 12192000"/>
                <a:gd name="connsiteY39" fmla="*/ 184139 h 757168"/>
                <a:gd name="connsiteX40" fmla="*/ 5088812 w 12192000"/>
                <a:gd name="connsiteY40" fmla="*/ 177401 h 757168"/>
                <a:gd name="connsiteX41" fmla="*/ 5222466 w 12192000"/>
                <a:gd name="connsiteY41" fmla="*/ 162082 h 757168"/>
                <a:gd name="connsiteX42" fmla="*/ 5406528 w 12192000"/>
                <a:gd name="connsiteY42" fmla="*/ 153987 h 757168"/>
                <a:gd name="connsiteX43" fmla="*/ 5590716 w 12192000"/>
                <a:gd name="connsiteY43" fmla="*/ 129490 h 757168"/>
                <a:gd name="connsiteX44" fmla="*/ 5719429 w 12192000"/>
                <a:gd name="connsiteY44" fmla="*/ 110099 h 757168"/>
                <a:gd name="connsiteX45" fmla="*/ 5897895 w 12192000"/>
                <a:gd name="connsiteY45" fmla="*/ 96368 h 757168"/>
                <a:gd name="connsiteX46" fmla="*/ 6169957 w 12192000"/>
                <a:gd name="connsiteY46" fmla="*/ 94411 h 757168"/>
                <a:gd name="connsiteX47" fmla="*/ 6294827 w 12192000"/>
                <a:gd name="connsiteY47" fmla="*/ 99236 h 757168"/>
                <a:gd name="connsiteX48" fmla="*/ 6494261 w 12192000"/>
                <a:gd name="connsiteY48" fmla="*/ 71724 h 757168"/>
                <a:gd name="connsiteX49" fmla="*/ 6579627 w 12192000"/>
                <a:gd name="connsiteY49" fmla="*/ 57883 h 757168"/>
                <a:gd name="connsiteX50" fmla="*/ 6654800 w 12192000"/>
                <a:gd name="connsiteY50" fmla="*/ 77086 h 757168"/>
                <a:gd name="connsiteX51" fmla="*/ 6703059 w 12192000"/>
                <a:gd name="connsiteY51" fmla="*/ 97166 h 757168"/>
                <a:gd name="connsiteX52" fmla="*/ 6859445 w 12192000"/>
                <a:gd name="connsiteY52" fmla="*/ 90481 h 757168"/>
                <a:gd name="connsiteX53" fmla="*/ 7025414 w 12192000"/>
                <a:gd name="connsiteY53" fmla="*/ 83536 h 757168"/>
                <a:gd name="connsiteX54" fmla="*/ 7144137 w 12192000"/>
                <a:gd name="connsiteY54" fmla="*/ 79264 h 757168"/>
                <a:gd name="connsiteX55" fmla="*/ 7291235 w 12192000"/>
                <a:gd name="connsiteY55" fmla="*/ 95367 h 757168"/>
                <a:gd name="connsiteX56" fmla="*/ 7407395 w 12192000"/>
                <a:gd name="connsiteY56" fmla="*/ 104888 h 757168"/>
                <a:gd name="connsiteX57" fmla="*/ 7500837 w 12192000"/>
                <a:gd name="connsiteY57" fmla="*/ 119515 h 757168"/>
                <a:gd name="connsiteX58" fmla="*/ 7533567 w 12192000"/>
                <a:gd name="connsiteY58" fmla="*/ 126955 h 757168"/>
                <a:gd name="connsiteX59" fmla="*/ 7792910 w 12192000"/>
                <a:gd name="connsiteY59" fmla="*/ 185188 h 757168"/>
                <a:gd name="connsiteX60" fmla="*/ 8070699 w 12192000"/>
                <a:gd name="connsiteY60" fmla="*/ 235423 h 757168"/>
                <a:gd name="connsiteX61" fmla="*/ 8253177 w 12192000"/>
                <a:gd name="connsiteY61" fmla="*/ 222473 h 757168"/>
                <a:gd name="connsiteX62" fmla="*/ 8320683 w 12192000"/>
                <a:gd name="connsiteY62" fmla="*/ 226393 h 757168"/>
                <a:gd name="connsiteX63" fmla="*/ 8631438 w 12192000"/>
                <a:gd name="connsiteY63" fmla="*/ 237528 h 757168"/>
                <a:gd name="connsiteX64" fmla="*/ 8686410 w 12192000"/>
                <a:gd name="connsiteY64" fmla="*/ 234877 h 757168"/>
                <a:gd name="connsiteX65" fmla="*/ 8980658 w 12192000"/>
                <a:gd name="connsiteY65" fmla="*/ 273001 h 757168"/>
                <a:gd name="connsiteX66" fmla="*/ 9087625 w 12192000"/>
                <a:gd name="connsiteY66" fmla="*/ 282423 h 757168"/>
                <a:gd name="connsiteX67" fmla="*/ 9186017 w 12192000"/>
                <a:gd name="connsiteY67" fmla="*/ 293875 h 757168"/>
                <a:gd name="connsiteX68" fmla="*/ 9323931 w 12192000"/>
                <a:gd name="connsiteY68" fmla="*/ 302628 h 757168"/>
                <a:gd name="connsiteX69" fmla="*/ 9467213 w 12192000"/>
                <a:gd name="connsiteY69" fmla="*/ 307275 h 757168"/>
                <a:gd name="connsiteX70" fmla="*/ 9626826 w 12192000"/>
                <a:gd name="connsiteY70" fmla="*/ 316213 h 757168"/>
                <a:gd name="connsiteX71" fmla="*/ 9689696 w 12192000"/>
                <a:gd name="connsiteY71" fmla="*/ 324467 h 757168"/>
                <a:gd name="connsiteX72" fmla="*/ 9860526 w 12192000"/>
                <a:gd name="connsiteY72" fmla="*/ 329986 h 757168"/>
                <a:gd name="connsiteX73" fmla="*/ 9949775 w 12192000"/>
                <a:gd name="connsiteY73" fmla="*/ 340386 h 757168"/>
                <a:gd name="connsiteX74" fmla="*/ 10097252 w 12192000"/>
                <a:gd name="connsiteY74" fmla="*/ 349262 h 757168"/>
                <a:gd name="connsiteX75" fmla="*/ 10145261 w 12192000"/>
                <a:gd name="connsiteY75" fmla="*/ 353113 h 757168"/>
                <a:gd name="connsiteX76" fmla="*/ 10188159 w 12192000"/>
                <a:gd name="connsiteY76" fmla="*/ 356124 h 757168"/>
                <a:gd name="connsiteX77" fmla="*/ 10336144 w 12192000"/>
                <a:gd name="connsiteY77" fmla="*/ 348235 h 757168"/>
                <a:gd name="connsiteX78" fmla="*/ 10466847 w 12192000"/>
                <a:gd name="connsiteY78" fmla="*/ 354131 h 757168"/>
                <a:gd name="connsiteX79" fmla="*/ 10696514 w 12192000"/>
                <a:gd name="connsiteY79" fmla="*/ 353575 h 757168"/>
                <a:gd name="connsiteX80" fmla="*/ 10746932 w 12192000"/>
                <a:gd name="connsiteY80" fmla="*/ 360606 h 757168"/>
                <a:gd name="connsiteX81" fmla="*/ 10905388 w 12192000"/>
                <a:gd name="connsiteY81" fmla="*/ 370627 h 757168"/>
                <a:gd name="connsiteX82" fmla="*/ 10995602 w 12192000"/>
                <a:gd name="connsiteY82" fmla="*/ 376691 h 757168"/>
                <a:gd name="connsiteX83" fmla="*/ 11107647 w 12192000"/>
                <a:gd name="connsiteY83" fmla="*/ 373405 h 757168"/>
                <a:gd name="connsiteX84" fmla="*/ 11302440 w 12192000"/>
                <a:gd name="connsiteY84" fmla="*/ 364156 h 757168"/>
                <a:gd name="connsiteX85" fmla="*/ 11353613 w 12192000"/>
                <a:gd name="connsiteY85" fmla="*/ 363785 h 757168"/>
                <a:gd name="connsiteX86" fmla="*/ 11447323 w 12192000"/>
                <a:gd name="connsiteY86" fmla="*/ 359346 h 757168"/>
                <a:gd name="connsiteX87" fmla="*/ 11464292 w 12192000"/>
                <a:gd name="connsiteY87" fmla="*/ 358519 h 757168"/>
                <a:gd name="connsiteX88" fmla="*/ 11607560 w 12192000"/>
                <a:gd name="connsiteY88" fmla="*/ 342370 h 757168"/>
                <a:gd name="connsiteX89" fmla="*/ 11681426 w 12192000"/>
                <a:gd name="connsiteY89" fmla="*/ 344335 h 757168"/>
                <a:gd name="connsiteX90" fmla="*/ 11893565 w 12192000"/>
                <a:gd name="connsiteY90" fmla="*/ 355261 h 757168"/>
                <a:gd name="connsiteX91" fmla="*/ 11983290 w 12192000"/>
                <a:gd name="connsiteY91" fmla="*/ 363588 h 757168"/>
                <a:gd name="connsiteX92" fmla="*/ 12192000 w 12192000"/>
                <a:gd name="connsiteY92" fmla="*/ 388018 h 757168"/>
                <a:gd name="connsiteX93" fmla="*/ 12192000 w 12192000"/>
                <a:gd name="connsiteY93" fmla="*/ 577115 h 757168"/>
                <a:gd name="connsiteX94" fmla="*/ 12157329 w 12192000"/>
                <a:gd name="connsiteY94" fmla="*/ 588862 h 757168"/>
                <a:gd name="connsiteX95" fmla="*/ 12066948 w 12192000"/>
                <a:gd name="connsiteY95" fmla="*/ 586034 h 757168"/>
                <a:gd name="connsiteX96" fmla="*/ 11911344 w 12192000"/>
                <a:gd name="connsiteY96" fmla="*/ 521599 h 757168"/>
                <a:gd name="connsiteX97" fmla="*/ 11847823 w 12192000"/>
                <a:gd name="connsiteY97" fmla="*/ 511785 h 757168"/>
                <a:gd name="connsiteX98" fmla="*/ 11737547 w 12192000"/>
                <a:gd name="connsiteY98" fmla="*/ 502380 h 757168"/>
                <a:gd name="connsiteX99" fmla="*/ 11636052 w 12192000"/>
                <a:gd name="connsiteY99" fmla="*/ 514993 h 757168"/>
                <a:gd name="connsiteX100" fmla="*/ 11394706 w 12192000"/>
                <a:gd name="connsiteY100" fmla="*/ 590867 h 757168"/>
                <a:gd name="connsiteX101" fmla="*/ 11354978 w 12192000"/>
                <a:gd name="connsiteY101" fmla="*/ 597561 h 757168"/>
                <a:gd name="connsiteX102" fmla="*/ 11285306 w 12192000"/>
                <a:gd name="connsiteY102" fmla="*/ 599825 h 757168"/>
                <a:gd name="connsiteX103" fmla="*/ 11008528 w 12192000"/>
                <a:gd name="connsiteY103" fmla="*/ 656670 h 757168"/>
                <a:gd name="connsiteX104" fmla="*/ 10948735 w 12192000"/>
                <a:gd name="connsiteY104" fmla="*/ 652964 h 757168"/>
                <a:gd name="connsiteX105" fmla="*/ 10850698 w 12192000"/>
                <a:gd name="connsiteY105" fmla="*/ 641721 h 757168"/>
                <a:gd name="connsiteX106" fmla="*/ 10744026 w 12192000"/>
                <a:gd name="connsiteY106" fmla="*/ 647769 h 757168"/>
                <a:gd name="connsiteX107" fmla="*/ 10666160 w 12192000"/>
                <a:gd name="connsiteY107" fmla="*/ 651891 h 757168"/>
                <a:gd name="connsiteX108" fmla="*/ 10450521 w 12192000"/>
                <a:gd name="connsiteY108" fmla="*/ 616552 h 757168"/>
                <a:gd name="connsiteX109" fmla="*/ 10271192 w 12192000"/>
                <a:gd name="connsiteY109" fmla="*/ 583498 h 757168"/>
                <a:gd name="connsiteX110" fmla="*/ 10246067 w 12192000"/>
                <a:gd name="connsiteY110" fmla="*/ 585423 h 757168"/>
                <a:gd name="connsiteX111" fmla="*/ 10005027 w 12192000"/>
                <a:gd name="connsiteY111" fmla="*/ 592252 h 757168"/>
                <a:gd name="connsiteX112" fmla="*/ 9898681 w 12192000"/>
                <a:gd name="connsiteY112" fmla="*/ 613195 h 757168"/>
                <a:gd name="connsiteX113" fmla="*/ 9753225 w 12192000"/>
                <a:gd name="connsiteY113" fmla="*/ 629038 h 757168"/>
                <a:gd name="connsiteX114" fmla="*/ 9591376 w 12192000"/>
                <a:gd name="connsiteY114" fmla="*/ 648601 h 757168"/>
                <a:gd name="connsiteX115" fmla="*/ 9472860 w 12192000"/>
                <a:gd name="connsiteY115" fmla="*/ 655936 h 757168"/>
                <a:gd name="connsiteX116" fmla="*/ 9299788 w 12192000"/>
                <a:gd name="connsiteY116" fmla="*/ 636945 h 757168"/>
                <a:gd name="connsiteX117" fmla="*/ 9264605 w 12192000"/>
                <a:gd name="connsiteY117" fmla="*/ 627087 h 757168"/>
                <a:gd name="connsiteX118" fmla="*/ 8926435 w 12192000"/>
                <a:gd name="connsiteY118" fmla="*/ 549269 h 757168"/>
                <a:gd name="connsiteX119" fmla="*/ 8698934 w 12192000"/>
                <a:gd name="connsiteY119" fmla="*/ 536583 h 757168"/>
                <a:gd name="connsiteX120" fmla="*/ 8622862 w 12192000"/>
                <a:gd name="connsiteY120" fmla="*/ 541563 h 757168"/>
                <a:gd name="connsiteX121" fmla="*/ 8482784 w 12192000"/>
                <a:gd name="connsiteY121" fmla="*/ 574094 h 757168"/>
                <a:gd name="connsiteX122" fmla="*/ 8421565 w 12192000"/>
                <a:gd name="connsiteY122" fmla="*/ 576610 h 757168"/>
                <a:gd name="connsiteX123" fmla="*/ 8313469 w 12192000"/>
                <a:gd name="connsiteY123" fmla="*/ 574762 h 757168"/>
                <a:gd name="connsiteX124" fmla="*/ 8079520 w 12192000"/>
                <a:gd name="connsiteY124" fmla="*/ 558685 h 757168"/>
                <a:gd name="connsiteX125" fmla="*/ 7773327 w 12192000"/>
                <a:gd name="connsiteY125" fmla="*/ 558854 h 757168"/>
                <a:gd name="connsiteX126" fmla="*/ 7652477 w 12192000"/>
                <a:gd name="connsiteY126" fmla="*/ 547561 h 757168"/>
                <a:gd name="connsiteX127" fmla="*/ 7522274 w 12192000"/>
                <a:gd name="connsiteY127" fmla="*/ 532150 h 757168"/>
                <a:gd name="connsiteX128" fmla="*/ 7484080 w 12192000"/>
                <a:gd name="connsiteY128" fmla="*/ 530532 h 757168"/>
                <a:gd name="connsiteX129" fmla="*/ 7282277 w 12192000"/>
                <a:gd name="connsiteY129" fmla="*/ 540177 h 757168"/>
                <a:gd name="connsiteX130" fmla="*/ 7235690 w 12192000"/>
                <a:gd name="connsiteY130" fmla="*/ 551282 h 757168"/>
                <a:gd name="connsiteX131" fmla="*/ 7116339 w 12192000"/>
                <a:gd name="connsiteY131" fmla="*/ 539494 h 757168"/>
                <a:gd name="connsiteX132" fmla="*/ 7011067 w 12192000"/>
                <a:gd name="connsiteY132" fmla="*/ 511848 h 757168"/>
                <a:gd name="connsiteX133" fmla="*/ 6403234 w 12192000"/>
                <a:gd name="connsiteY133" fmla="*/ 432296 h 757168"/>
                <a:gd name="connsiteX134" fmla="*/ 6036273 w 12192000"/>
                <a:gd name="connsiteY134" fmla="*/ 412301 h 757168"/>
                <a:gd name="connsiteX135" fmla="*/ 5780467 w 12192000"/>
                <a:gd name="connsiteY135" fmla="*/ 377910 h 757168"/>
                <a:gd name="connsiteX136" fmla="*/ 5739051 w 12192000"/>
                <a:gd name="connsiteY136" fmla="*/ 353609 h 757168"/>
                <a:gd name="connsiteX137" fmla="*/ 5583566 w 12192000"/>
                <a:gd name="connsiteY137" fmla="*/ 321995 h 757168"/>
                <a:gd name="connsiteX138" fmla="*/ 5432030 w 12192000"/>
                <a:gd name="connsiteY138" fmla="*/ 362512 h 757168"/>
                <a:gd name="connsiteX139" fmla="*/ 5241398 w 12192000"/>
                <a:gd name="connsiteY139" fmla="*/ 425781 h 757168"/>
                <a:gd name="connsiteX140" fmla="*/ 5139710 w 12192000"/>
                <a:gd name="connsiteY140" fmla="*/ 421022 h 757168"/>
                <a:gd name="connsiteX141" fmla="*/ 4929402 w 12192000"/>
                <a:gd name="connsiteY141" fmla="*/ 424310 h 757168"/>
                <a:gd name="connsiteX142" fmla="*/ 4782793 w 12192000"/>
                <a:gd name="connsiteY142" fmla="*/ 441046 h 757168"/>
                <a:gd name="connsiteX143" fmla="*/ 4577594 w 12192000"/>
                <a:gd name="connsiteY143" fmla="*/ 459290 h 757168"/>
                <a:gd name="connsiteX144" fmla="*/ 4500826 w 12192000"/>
                <a:gd name="connsiteY144" fmla="*/ 470529 h 757168"/>
                <a:gd name="connsiteX145" fmla="*/ 4317973 w 12192000"/>
                <a:gd name="connsiteY145" fmla="*/ 483649 h 757168"/>
                <a:gd name="connsiteX146" fmla="*/ 4166722 w 12192000"/>
                <a:gd name="connsiteY146" fmla="*/ 490602 h 757168"/>
                <a:gd name="connsiteX147" fmla="*/ 4042814 w 12192000"/>
                <a:gd name="connsiteY147" fmla="*/ 530660 h 757168"/>
                <a:gd name="connsiteX148" fmla="*/ 4002653 w 12192000"/>
                <a:gd name="connsiteY148" fmla="*/ 552594 h 757168"/>
                <a:gd name="connsiteX149" fmla="*/ 3969549 w 12192000"/>
                <a:gd name="connsiteY149" fmla="*/ 566312 h 757168"/>
                <a:gd name="connsiteX150" fmla="*/ 3821685 w 12192000"/>
                <a:gd name="connsiteY150" fmla="*/ 649183 h 757168"/>
                <a:gd name="connsiteX151" fmla="*/ 3805138 w 12192000"/>
                <a:gd name="connsiteY151" fmla="*/ 655947 h 757168"/>
                <a:gd name="connsiteX152" fmla="*/ 3609177 w 12192000"/>
                <a:gd name="connsiteY152" fmla="*/ 687459 h 757168"/>
                <a:gd name="connsiteX153" fmla="*/ 3539727 w 12192000"/>
                <a:gd name="connsiteY153" fmla="*/ 706521 h 757168"/>
                <a:gd name="connsiteX154" fmla="*/ 3396572 w 12192000"/>
                <a:gd name="connsiteY154" fmla="*/ 755681 h 757168"/>
                <a:gd name="connsiteX155" fmla="*/ 3341054 w 12192000"/>
                <a:gd name="connsiteY155" fmla="*/ 754679 h 757168"/>
                <a:gd name="connsiteX156" fmla="*/ 3138775 w 12192000"/>
                <a:gd name="connsiteY156" fmla="*/ 710120 h 757168"/>
                <a:gd name="connsiteX157" fmla="*/ 3037283 w 12192000"/>
                <a:gd name="connsiteY157" fmla="*/ 666453 h 757168"/>
                <a:gd name="connsiteX158" fmla="*/ 3002117 w 12192000"/>
                <a:gd name="connsiteY158" fmla="*/ 649347 h 757168"/>
                <a:gd name="connsiteX159" fmla="*/ 2747294 w 12192000"/>
                <a:gd name="connsiteY159" fmla="*/ 652400 h 757168"/>
                <a:gd name="connsiteX160" fmla="*/ 2676273 w 12192000"/>
                <a:gd name="connsiteY160" fmla="*/ 652304 h 757168"/>
                <a:gd name="connsiteX161" fmla="*/ 2432360 w 12192000"/>
                <a:gd name="connsiteY161" fmla="*/ 657836 h 757168"/>
                <a:gd name="connsiteX162" fmla="*/ 2382311 w 12192000"/>
                <a:gd name="connsiteY162" fmla="*/ 650824 h 757168"/>
                <a:gd name="connsiteX163" fmla="*/ 2055134 w 12192000"/>
                <a:gd name="connsiteY163" fmla="*/ 630053 h 757168"/>
                <a:gd name="connsiteX164" fmla="*/ 2031829 w 12192000"/>
                <a:gd name="connsiteY164" fmla="*/ 639324 h 757168"/>
                <a:gd name="connsiteX165" fmla="*/ 1912764 w 12192000"/>
                <a:gd name="connsiteY165" fmla="*/ 664183 h 757168"/>
                <a:gd name="connsiteX166" fmla="*/ 1755637 w 12192000"/>
                <a:gd name="connsiteY166" fmla="*/ 663960 h 757168"/>
                <a:gd name="connsiteX167" fmla="*/ 1727159 w 12192000"/>
                <a:gd name="connsiteY167" fmla="*/ 659605 h 757168"/>
                <a:gd name="connsiteX168" fmla="*/ 1622470 w 12192000"/>
                <a:gd name="connsiteY168" fmla="*/ 634850 h 757168"/>
                <a:gd name="connsiteX169" fmla="*/ 1385955 w 12192000"/>
                <a:gd name="connsiteY169" fmla="*/ 604522 h 757168"/>
                <a:gd name="connsiteX170" fmla="*/ 1340055 w 12192000"/>
                <a:gd name="connsiteY170" fmla="*/ 595629 h 757168"/>
                <a:gd name="connsiteX171" fmla="*/ 1257271 w 12192000"/>
                <a:gd name="connsiteY171" fmla="*/ 581180 h 757168"/>
                <a:gd name="connsiteX172" fmla="*/ 1031914 w 12192000"/>
                <a:gd name="connsiteY172" fmla="*/ 562692 h 757168"/>
                <a:gd name="connsiteX173" fmla="*/ 922031 w 12192000"/>
                <a:gd name="connsiteY173" fmla="*/ 566853 h 757168"/>
                <a:gd name="connsiteX174" fmla="*/ 873250 w 12192000"/>
                <a:gd name="connsiteY174" fmla="*/ 563724 h 757168"/>
                <a:gd name="connsiteX175" fmla="*/ 711627 w 12192000"/>
                <a:gd name="connsiteY175" fmla="*/ 529880 h 757168"/>
                <a:gd name="connsiteX176" fmla="*/ 311112 w 12192000"/>
                <a:gd name="connsiteY176" fmla="*/ 525106 h 757168"/>
                <a:gd name="connsiteX177" fmla="*/ 184145 w 12192000"/>
                <a:gd name="connsiteY177" fmla="*/ 532188 h 757168"/>
                <a:gd name="connsiteX178" fmla="*/ 116886 w 12192000"/>
                <a:gd name="connsiteY178" fmla="*/ 530572 h 757168"/>
                <a:gd name="connsiteX179" fmla="*/ 23941 w 12192000"/>
                <a:gd name="connsiteY179" fmla="*/ 506433 h 757168"/>
                <a:gd name="connsiteX180" fmla="*/ 0 w 12192000"/>
                <a:gd name="connsiteY180" fmla="*/ 502149 h 75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192000" h="757168">
                  <a:moveTo>
                    <a:pt x="0" y="0"/>
                  </a:moveTo>
                  <a:lnTo>
                    <a:pt x="41653" y="6945"/>
                  </a:lnTo>
                  <a:cubicBezTo>
                    <a:pt x="55151" y="9178"/>
                    <a:pt x="68996" y="11810"/>
                    <a:pt x="81317" y="15509"/>
                  </a:cubicBezTo>
                  <a:cubicBezTo>
                    <a:pt x="92911" y="18978"/>
                    <a:pt x="102562" y="24446"/>
                    <a:pt x="114150" y="28105"/>
                  </a:cubicBezTo>
                  <a:cubicBezTo>
                    <a:pt x="145644" y="37958"/>
                    <a:pt x="177914" y="47281"/>
                    <a:pt x="214865" y="58374"/>
                  </a:cubicBezTo>
                  <a:cubicBezTo>
                    <a:pt x="236680" y="42349"/>
                    <a:pt x="264438" y="53534"/>
                    <a:pt x="299237" y="63560"/>
                  </a:cubicBezTo>
                  <a:cubicBezTo>
                    <a:pt x="334763" y="73816"/>
                    <a:pt x="376093" y="78654"/>
                    <a:pt x="415570" y="83774"/>
                  </a:cubicBezTo>
                  <a:cubicBezTo>
                    <a:pt x="487949" y="93100"/>
                    <a:pt x="560804" y="100354"/>
                    <a:pt x="633210" y="109108"/>
                  </a:cubicBezTo>
                  <a:cubicBezTo>
                    <a:pt x="648566" y="111058"/>
                    <a:pt x="666073" y="114072"/>
                    <a:pt x="677567" y="119446"/>
                  </a:cubicBezTo>
                  <a:cubicBezTo>
                    <a:pt x="756262" y="155621"/>
                    <a:pt x="853422" y="169678"/>
                    <a:pt x="946429" y="171502"/>
                  </a:cubicBezTo>
                  <a:cubicBezTo>
                    <a:pt x="1019582" y="173044"/>
                    <a:pt x="1091239" y="175083"/>
                    <a:pt x="1163367" y="182106"/>
                  </a:cubicBezTo>
                  <a:cubicBezTo>
                    <a:pt x="1168863" y="182586"/>
                    <a:pt x="1176224" y="182589"/>
                    <a:pt x="1180337" y="181279"/>
                  </a:cubicBezTo>
                  <a:cubicBezTo>
                    <a:pt x="1205822" y="172503"/>
                    <a:pt x="1231920" y="173109"/>
                    <a:pt x="1263939" y="173070"/>
                  </a:cubicBezTo>
                  <a:cubicBezTo>
                    <a:pt x="1309211" y="172961"/>
                    <a:pt x="1350592" y="176848"/>
                    <a:pt x="1392213" y="183225"/>
                  </a:cubicBezTo>
                  <a:cubicBezTo>
                    <a:pt x="1422516" y="187866"/>
                    <a:pt x="1453010" y="195759"/>
                    <a:pt x="1479752" y="205174"/>
                  </a:cubicBezTo>
                  <a:cubicBezTo>
                    <a:pt x="1516962" y="218381"/>
                    <a:pt x="1553071" y="224660"/>
                    <a:pt x="1589813" y="211706"/>
                  </a:cubicBezTo>
                  <a:cubicBezTo>
                    <a:pt x="1629541" y="197953"/>
                    <a:pt x="1673292" y="205778"/>
                    <a:pt x="1716264" y="207459"/>
                  </a:cubicBezTo>
                  <a:cubicBezTo>
                    <a:pt x="1734988" y="208248"/>
                    <a:pt x="1754789" y="209668"/>
                    <a:pt x="1772900" y="208137"/>
                  </a:cubicBezTo>
                  <a:cubicBezTo>
                    <a:pt x="1825381" y="203828"/>
                    <a:pt x="1876222" y="195808"/>
                    <a:pt x="1929319" y="193822"/>
                  </a:cubicBezTo>
                  <a:cubicBezTo>
                    <a:pt x="1958819" y="192698"/>
                    <a:pt x="1991232" y="199166"/>
                    <a:pt x="2021514" y="204186"/>
                  </a:cubicBezTo>
                  <a:cubicBezTo>
                    <a:pt x="2052154" y="209417"/>
                    <a:pt x="2082323" y="216530"/>
                    <a:pt x="2111753" y="223797"/>
                  </a:cubicBezTo>
                  <a:cubicBezTo>
                    <a:pt x="2131736" y="228659"/>
                    <a:pt x="2153567" y="233429"/>
                    <a:pt x="2169356" y="241125"/>
                  </a:cubicBezTo>
                  <a:cubicBezTo>
                    <a:pt x="2205243" y="258649"/>
                    <a:pt x="2242901" y="263295"/>
                    <a:pt x="2286638" y="257382"/>
                  </a:cubicBezTo>
                  <a:cubicBezTo>
                    <a:pt x="2293313" y="256396"/>
                    <a:pt x="2301018" y="256799"/>
                    <a:pt x="2308368" y="256995"/>
                  </a:cubicBezTo>
                  <a:cubicBezTo>
                    <a:pt x="2426026" y="259155"/>
                    <a:pt x="2543593" y="262834"/>
                    <a:pt x="2660621" y="262863"/>
                  </a:cubicBezTo>
                  <a:cubicBezTo>
                    <a:pt x="2708088" y="262871"/>
                    <a:pt x="2754165" y="254412"/>
                    <a:pt x="2801134" y="250006"/>
                  </a:cubicBezTo>
                  <a:cubicBezTo>
                    <a:pt x="2810748" y="249174"/>
                    <a:pt x="2821504" y="247638"/>
                    <a:pt x="2830994" y="249091"/>
                  </a:cubicBezTo>
                  <a:cubicBezTo>
                    <a:pt x="2934354" y="264045"/>
                    <a:pt x="3032340" y="255254"/>
                    <a:pt x="3129084" y="242009"/>
                  </a:cubicBezTo>
                  <a:cubicBezTo>
                    <a:pt x="3139090" y="240625"/>
                    <a:pt x="3151170" y="241831"/>
                    <a:pt x="3162162" y="242789"/>
                  </a:cubicBezTo>
                  <a:cubicBezTo>
                    <a:pt x="3192925" y="245736"/>
                    <a:pt x="3225969" y="254145"/>
                    <a:pt x="3254072" y="251612"/>
                  </a:cubicBezTo>
                  <a:cubicBezTo>
                    <a:pt x="3328782" y="244461"/>
                    <a:pt x="3402881" y="234992"/>
                    <a:pt x="3473491" y="221903"/>
                  </a:cubicBezTo>
                  <a:cubicBezTo>
                    <a:pt x="3545212" y="208683"/>
                    <a:pt x="3611651" y="197856"/>
                    <a:pt x="3691860" y="219228"/>
                  </a:cubicBezTo>
                  <a:cubicBezTo>
                    <a:pt x="3725977" y="228268"/>
                    <a:pt x="3771754" y="225515"/>
                    <a:pt x="3811494" y="225691"/>
                  </a:cubicBezTo>
                  <a:cubicBezTo>
                    <a:pt x="3840564" y="225687"/>
                    <a:pt x="3868906" y="218586"/>
                    <a:pt x="3897533" y="220087"/>
                  </a:cubicBezTo>
                  <a:cubicBezTo>
                    <a:pt x="3973874" y="224087"/>
                    <a:pt x="4042293" y="217563"/>
                    <a:pt x="4109430" y="200477"/>
                  </a:cubicBezTo>
                  <a:cubicBezTo>
                    <a:pt x="4135544" y="193834"/>
                    <a:pt x="4175268" y="201258"/>
                    <a:pt x="4208772" y="200914"/>
                  </a:cubicBezTo>
                  <a:cubicBezTo>
                    <a:pt x="4244136" y="200288"/>
                    <a:pt x="4280583" y="199908"/>
                    <a:pt x="4314641" y="196159"/>
                  </a:cubicBezTo>
                  <a:cubicBezTo>
                    <a:pt x="4402743" y="186278"/>
                    <a:pt x="4489848" y="174436"/>
                    <a:pt x="4577622" y="163774"/>
                  </a:cubicBezTo>
                  <a:cubicBezTo>
                    <a:pt x="4649843" y="154967"/>
                    <a:pt x="4719794" y="168553"/>
                    <a:pt x="4790345" y="177592"/>
                  </a:cubicBezTo>
                  <a:cubicBezTo>
                    <a:pt x="4834576" y="183345"/>
                    <a:pt x="4875614" y="193701"/>
                    <a:pt x="4926164" y="184139"/>
                  </a:cubicBezTo>
                  <a:cubicBezTo>
                    <a:pt x="4974485" y="175032"/>
                    <a:pt x="5034899" y="180870"/>
                    <a:pt x="5088812" y="177401"/>
                  </a:cubicBezTo>
                  <a:cubicBezTo>
                    <a:pt x="5134238" y="174439"/>
                    <a:pt x="5178353" y="168165"/>
                    <a:pt x="5222466" y="162082"/>
                  </a:cubicBezTo>
                  <a:cubicBezTo>
                    <a:pt x="5282519" y="153783"/>
                    <a:pt x="5341864" y="144876"/>
                    <a:pt x="5406528" y="153987"/>
                  </a:cubicBezTo>
                  <a:cubicBezTo>
                    <a:pt x="5479960" y="164323"/>
                    <a:pt x="5531876" y="142624"/>
                    <a:pt x="5590716" y="129490"/>
                  </a:cubicBezTo>
                  <a:cubicBezTo>
                    <a:pt x="5631296" y="120553"/>
                    <a:pt x="5675395" y="114659"/>
                    <a:pt x="5719429" y="110099"/>
                  </a:cubicBezTo>
                  <a:cubicBezTo>
                    <a:pt x="5778247" y="104215"/>
                    <a:pt x="5838715" y="102042"/>
                    <a:pt x="5897895" y="96368"/>
                  </a:cubicBezTo>
                  <a:cubicBezTo>
                    <a:pt x="5987399" y="87895"/>
                    <a:pt x="6077855" y="82333"/>
                    <a:pt x="6169957" y="94411"/>
                  </a:cubicBezTo>
                  <a:cubicBezTo>
                    <a:pt x="6212360" y="99875"/>
                    <a:pt x="6252010" y="101763"/>
                    <a:pt x="6294827" y="99236"/>
                  </a:cubicBezTo>
                  <a:cubicBezTo>
                    <a:pt x="6364965" y="95091"/>
                    <a:pt x="6436581" y="97891"/>
                    <a:pt x="6494261" y="71724"/>
                  </a:cubicBezTo>
                  <a:cubicBezTo>
                    <a:pt x="6514615" y="62488"/>
                    <a:pt x="6550354" y="61691"/>
                    <a:pt x="6579627" y="57883"/>
                  </a:cubicBezTo>
                  <a:cubicBezTo>
                    <a:pt x="6613354" y="53353"/>
                    <a:pt x="6637770" y="57878"/>
                    <a:pt x="6654800" y="77086"/>
                  </a:cubicBezTo>
                  <a:cubicBezTo>
                    <a:pt x="6662444" y="85688"/>
                    <a:pt x="6685147" y="94892"/>
                    <a:pt x="6703059" y="97166"/>
                  </a:cubicBezTo>
                  <a:cubicBezTo>
                    <a:pt x="6756799" y="103989"/>
                    <a:pt x="6806654" y="100687"/>
                    <a:pt x="6859445" y="90481"/>
                  </a:cubicBezTo>
                  <a:cubicBezTo>
                    <a:pt x="6908894" y="80861"/>
                    <a:pt x="6969747" y="85387"/>
                    <a:pt x="7025414" y="83536"/>
                  </a:cubicBezTo>
                  <a:cubicBezTo>
                    <a:pt x="7064862" y="82168"/>
                    <a:pt x="7104501" y="77186"/>
                    <a:pt x="7144137" y="79264"/>
                  </a:cubicBezTo>
                  <a:cubicBezTo>
                    <a:pt x="7193316" y="81841"/>
                    <a:pt x="7241809" y="90488"/>
                    <a:pt x="7291235" y="95367"/>
                  </a:cubicBezTo>
                  <a:cubicBezTo>
                    <a:pt x="7329668" y="99288"/>
                    <a:pt x="7368978" y="100585"/>
                    <a:pt x="7407395" y="104888"/>
                  </a:cubicBezTo>
                  <a:cubicBezTo>
                    <a:pt x="7438868" y="108256"/>
                    <a:pt x="7469832" y="114265"/>
                    <a:pt x="7500837" y="119515"/>
                  </a:cubicBezTo>
                  <a:cubicBezTo>
                    <a:pt x="7512146" y="121444"/>
                    <a:pt x="7523255" y="127178"/>
                    <a:pt x="7533567" y="126955"/>
                  </a:cubicBezTo>
                  <a:cubicBezTo>
                    <a:pt x="7636025" y="124121"/>
                    <a:pt x="7707510" y="164497"/>
                    <a:pt x="7792910" y="185188"/>
                  </a:cubicBezTo>
                  <a:cubicBezTo>
                    <a:pt x="7882663" y="207063"/>
                    <a:pt x="7969001" y="237914"/>
                    <a:pt x="8070699" y="235423"/>
                  </a:cubicBezTo>
                  <a:cubicBezTo>
                    <a:pt x="8132239" y="233879"/>
                    <a:pt x="8191903" y="225939"/>
                    <a:pt x="8253177" y="222473"/>
                  </a:cubicBezTo>
                  <a:cubicBezTo>
                    <a:pt x="8274949" y="221324"/>
                    <a:pt x="8299150" y="222976"/>
                    <a:pt x="8320683" y="226393"/>
                  </a:cubicBezTo>
                  <a:cubicBezTo>
                    <a:pt x="8424731" y="242340"/>
                    <a:pt x="8527777" y="249266"/>
                    <a:pt x="8631438" y="237528"/>
                  </a:cubicBezTo>
                  <a:cubicBezTo>
                    <a:pt x="8649201" y="235596"/>
                    <a:pt x="8668058" y="233915"/>
                    <a:pt x="8686410" y="234877"/>
                  </a:cubicBezTo>
                  <a:cubicBezTo>
                    <a:pt x="8786966" y="240146"/>
                    <a:pt x="8885480" y="249315"/>
                    <a:pt x="8980658" y="273001"/>
                  </a:cubicBezTo>
                  <a:cubicBezTo>
                    <a:pt x="9012626" y="280972"/>
                    <a:pt x="9052108" y="279035"/>
                    <a:pt x="9087625" y="282423"/>
                  </a:cubicBezTo>
                  <a:cubicBezTo>
                    <a:pt x="9120583" y="285484"/>
                    <a:pt x="9154319" y="287825"/>
                    <a:pt x="9186017" y="293875"/>
                  </a:cubicBezTo>
                  <a:cubicBezTo>
                    <a:pt x="9232288" y="302785"/>
                    <a:pt x="9275554" y="305815"/>
                    <a:pt x="9323931" y="302628"/>
                  </a:cubicBezTo>
                  <a:cubicBezTo>
                    <a:pt x="9370084" y="299705"/>
                    <a:pt x="9419491" y="304964"/>
                    <a:pt x="9467213" y="307275"/>
                  </a:cubicBezTo>
                  <a:cubicBezTo>
                    <a:pt x="9520438" y="309874"/>
                    <a:pt x="9573661" y="312473"/>
                    <a:pt x="9626826" y="316213"/>
                  </a:cubicBezTo>
                  <a:cubicBezTo>
                    <a:pt x="9648094" y="317708"/>
                    <a:pt x="9671915" y="326588"/>
                    <a:pt x="9689696" y="324467"/>
                  </a:cubicBezTo>
                  <a:cubicBezTo>
                    <a:pt x="9747117" y="317175"/>
                    <a:pt x="9803355" y="332523"/>
                    <a:pt x="9860526" y="329986"/>
                  </a:cubicBezTo>
                  <a:cubicBezTo>
                    <a:pt x="9888572" y="328594"/>
                    <a:pt x="9919723" y="338048"/>
                    <a:pt x="9949775" y="340386"/>
                  </a:cubicBezTo>
                  <a:cubicBezTo>
                    <a:pt x="9998886" y="344296"/>
                    <a:pt x="10048092" y="346302"/>
                    <a:pt x="10097252" y="349262"/>
                  </a:cubicBezTo>
                  <a:cubicBezTo>
                    <a:pt x="10113390" y="350297"/>
                    <a:pt x="10129133" y="351886"/>
                    <a:pt x="10145261" y="353113"/>
                  </a:cubicBezTo>
                  <a:cubicBezTo>
                    <a:pt x="10159555" y="354243"/>
                    <a:pt x="10174512" y="356743"/>
                    <a:pt x="10188159" y="356124"/>
                  </a:cubicBezTo>
                  <a:cubicBezTo>
                    <a:pt x="10237589" y="353944"/>
                    <a:pt x="10286441" y="348682"/>
                    <a:pt x="10336144" y="348235"/>
                  </a:cubicBezTo>
                  <a:cubicBezTo>
                    <a:pt x="10379222" y="347822"/>
                    <a:pt x="10423443" y="353764"/>
                    <a:pt x="10466847" y="354131"/>
                  </a:cubicBezTo>
                  <a:cubicBezTo>
                    <a:pt x="10543353" y="354898"/>
                    <a:pt x="10619988" y="353190"/>
                    <a:pt x="10696514" y="353575"/>
                  </a:cubicBezTo>
                  <a:cubicBezTo>
                    <a:pt x="10713071" y="353680"/>
                    <a:pt x="10730069" y="359342"/>
                    <a:pt x="10746932" y="360606"/>
                  </a:cubicBezTo>
                  <a:cubicBezTo>
                    <a:pt x="10799731" y="364326"/>
                    <a:pt x="10852569" y="367289"/>
                    <a:pt x="10905388" y="370627"/>
                  </a:cubicBezTo>
                  <a:cubicBezTo>
                    <a:pt x="10935470" y="372396"/>
                    <a:pt x="10965963" y="373421"/>
                    <a:pt x="10995602" y="376691"/>
                  </a:cubicBezTo>
                  <a:cubicBezTo>
                    <a:pt x="11034750" y="381032"/>
                    <a:pt x="11070168" y="386324"/>
                    <a:pt x="11107647" y="373405"/>
                  </a:cubicBezTo>
                  <a:cubicBezTo>
                    <a:pt x="11165372" y="353347"/>
                    <a:pt x="11236837" y="366060"/>
                    <a:pt x="11302440" y="364156"/>
                  </a:cubicBezTo>
                  <a:cubicBezTo>
                    <a:pt x="11319394" y="363708"/>
                    <a:pt x="11336655" y="364422"/>
                    <a:pt x="11353613" y="363785"/>
                  </a:cubicBezTo>
                  <a:cubicBezTo>
                    <a:pt x="11384961" y="362566"/>
                    <a:pt x="11415955" y="360947"/>
                    <a:pt x="11447323" y="359346"/>
                  </a:cubicBezTo>
                  <a:cubicBezTo>
                    <a:pt x="11452855" y="359066"/>
                    <a:pt x="11459104" y="359200"/>
                    <a:pt x="11464292" y="358519"/>
                  </a:cubicBezTo>
                  <a:cubicBezTo>
                    <a:pt x="11512058" y="353010"/>
                    <a:pt x="11559143" y="346321"/>
                    <a:pt x="11607560" y="342370"/>
                  </a:cubicBezTo>
                  <a:cubicBezTo>
                    <a:pt x="11631218" y="340368"/>
                    <a:pt x="11657295" y="341352"/>
                    <a:pt x="11681426" y="344335"/>
                  </a:cubicBezTo>
                  <a:cubicBezTo>
                    <a:pt x="11751997" y="352993"/>
                    <a:pt x="11821986" y="358760"/>
                    <a:pt x="11893565" y="355261"/>
                  </a:cubicBezTo>
                  <a:cubicBezTo>
                    <a:pt x="11921973" y="353889"/>
                    <a:pt x="11953288" y="360300"/>
                    <a:pt x="11983290" y="363588"/>
                  </a:cubicBezTo>
                  <a:lnTo>
                    <a:pt x="12192000" y="388018"/>
                  </a:lnTo>
                  <a:lnTo>
                    <a:pt x="12192000" y="577115"/>
                  </a:lnTo>
                  <a:lnTo>
                    <a:pt x="12157329" y="588862"/>
                  </a:lnTo>
                  <a:cubicBezTo>
                    <a:pt x="12118393" y="608572"/>
                    <a:pt x="12109715" y="605637"/>
                    <a:pt x="12066948" y="586034"/>
                  </a:cubicBezTo>
                  <a:cubicBezTo>
                    <a:pt x="12016991" y="563193"/>
                    <a:pt x="11965119" y="541779"/>
                    <a:pt x="11911344" y="521599"/>
                  </a:cubicBezTo>
                  <a:cubicBezTo>
                    <a:pt x="11894383" y="515178"/>
                    <a:pt x="11869417" y="514060"/>
                    <a:pt x="11847823" y="511785"/>
                  </a:cubicBezTo>
                  <a:cubicBezTo>
                    <a:pt x="11811233" y="507768"/>
                    <a:pt x="11773630" y="501982"/>
                    <a:pt x="11737547" y="502380"/>
                  </a:cubicBezTo>
                  <a:cubicBezTo>
                    <a:pt x="11702930" y="502855"/>
                    <a:pt x="11668388" y="508866"/>
                    <a:pt x="11636052" y="514993"/>
                  </a:cubicBezTo>
                  <a:cubicBezTo>
                    <a:pt x="11545722" y="532199"/>
                    <a:pt x="11462455" y="555118"/>
                    <a:pt x="11394706" y="590867"/>
                  </a:cubicBezTo>
                  <a:cubicBezTo>
                    <a:pt x="11385999" y="595562"/>
                    <a:pt x="11369016" y="596581"/>
                    <a:pt x="11354978" y="597561"/>
                  </a:cubicBezTo>
                  <a:cubicBezTo>
                    <a:pt x="11332076" y="599224"/>
                    <a:pt x="11308448" y="600655"/>
                    <a:pt x="11285306" y="599825"/>
                  </a:cubicBezTo>
                  <a:cubicBezTo>
                    <a:pt x="11172906" y="595841"/>
                    <a:pt x="11083430" y="617861"/>
                    <a:pt x="11008528" y="656670"/>
                  </a:cubicBezTo>
                  <a:cubicBezTo>
                    <a:pt x="10986971" y="667750"/>
                    <a:pt x="10970753" y="668236"/>
                    <a:pt x="10948735" y="652964"/>
                  </a:cubicBezTo>
                  <a:cubicBezTo>
                    <a:pt x="10923173" y="635218"/>
                    <a:pt x="10885031" y="639705"/>
                    <a:pt x="10850698" y="641721"/>
                  </a:cubicBezTo>
                  <a:cubicBezTo>
                    <a:pt x="10815269" y="643680"/>
                    <a:pt x="10779458" y="645811"/>
                    <a:pt x="10744026" y="647769"/>
                  </a:cubicBezTo>
                  <a:cubicBezTo>
                    <a:pt x="10717832" y="649066"/>
                    <a:pt x="10692021" y="650003"/>
                    <a:pt x="10666160" y="651891"/>
                  </a:cubicBezTo>
                  <a:cubicBezTo>
                    <a:pt x="10585627" y="657783"/>
                    <a:pt x="10513854" y="650969"/>
                    <a:pt x="10450521" y="616552"/>
                  </a:cubicBezTo>
                  <a:cubicBezTo>
                    <a:pt x="10402221" y="590175"/>
                    <a:pt x="10339099" y="579806"/>
                    <a:pt x="10271192" y="583498"/>
                  </a:cubicBezTo>
                  <a:cubicBezTo>
                    <a:pt x="10262701" y="584006"/>
                    <a:pt x="10251859" y="587254"/>
                    <a:pt x="10246067" y="585423"/>
                  </a:cubicBezTo>
                  <a:cubicBezTo>
                    <a:pt x="10158786" y="558528"/>
                    <a:pt x="10086634" y="594049"/>
                    <a:pt x="10005027" y="592252"/>
                  </a:cubicBezTo>
                  <a:cubicBezTo>
                    <a:pt x="9969004" y="591507"/>
                    <a:pt x="9931565" y="603664"/>
                    <a:pt x="9898681" y="613195"/>
                  </a:cubicBezTo>
                  <a:cubicBezTo>
                    <a:pt x="9853463" y="626281"/>
                    <a:pt x="9813049" y="639042"/>
                    <a:pt x="9753225" y="629038"/>
                  </a:cubicBezTo>
                  <a:cubicBezTo>
                    <a:pt x="9693404" y="618845"/>
                    <a:pt x="9637675" y="628898"/>
                    <a:pt x="9591376" y="648601"/>
                  </a:cubicBezTo>
                  <a:cubicBezTo>
                    <a:pt x="9556001" y="663537"/>
                    <a:pt x="9518120" y="663077"/>
                    <a:pt x="9472860" y="655936"/>
                  </a:cubicBezTo>
                  <a:cubicBezTo>
                    <a:pt x="9416283" y="647056"/>
                    <a:pt x="9357217" y="643578"/>
                    <a:pt x="9299788" y="636945"/>
                  </a:cubicBezTo>
                  <a:cubicBezTo>
                    <a:pt x="9287347" y="635531"/>
                    <a:pt x="9271710" y="632039"/>
                    <a:pt x="9264605" y="627087"/>
                  </a:cubicBezTo>
                  <a:cubicBezTo>
                    <a:pt x="9177661" y="565680"/>
                    <a:pt x="9051076" y="558473"/>
                    <a:pt x="8926435" y="549269"/>
                  </a:cubicBezTo>
                  <a:cubicBezTo>
                    <a:pt x="8850925" y="543595"/>
                    <a:pt x="8774954" y="539613"/>
                    <a:pt x="8698934" y="536583"/>
                  </a:cubicBezTo>
                  <a:cubicBezTo>
                    <a:pt x="8673232" y="535428"/>
                    <a:pt x="8645916" y="537050"/>
                    <a:pt x="8622862" y="541563"/>
                  </a:cubicBezTo>
                  <a:cubicBezTo>
                    <a:pt x="8574890" y="551069"/>
                    <a:pt x="8530403" y="564380"/>
                    <a:pt x="8482784" y="574094"/>
                  </a:cubicBezTo>
                  <a:cubicBezTo>
                    <a:pt x="8464923" y="577929"/>
                    <a:pt x="8442157" y="576927"/>
                    <a:pt x="8421565" y="576610"/>
                  </a:cubicBezTo>
                  <a:cubicBezTo>
                    <a:pt x="8385152" y="576229"/>
                    <a:pt x="8345023" y="569546"/>
                    <a:pt x="8313469" y="574762"/>
                  </a:cubicBezTo>
                  <a:cubicBezTo>
                    <a:pt x="8231431" y="588203"/>
                    <a:pt x="8155671" y="580227"/>
                    <a:pt x="8079520" y="558685"/>
                  </a:cubicBezTo>
                  <a:cubicBezTo>
                    <a:pt x="7972906" y="528487"/>
                    <a:pt x="7870782" y="525043"/>
                    <a:pt x="7773327" y="558854"/>
                  </a:cubicBezTo>
                  <a:cubicBezTo>
                    <a:pt x="7729470" y="574107"/>
                    <a:pt x="7688069" y="563543"/>
                    <a:pt x="7652477" y="547561"/>
                  </a:cubicBezTo>
                  <a:cubicBezTo>
                    <a:pt x="7611494" y="529005"/>
                    <a:pt x="7570974" y="522685"/>
                    <a:pt x="7522274" y="532150"/>
                  </a:cubicBezTo>
                  <a:cubicBezTo>
                    <a:pt x="7511488" y="534257"/>
                    <a:pt x="7496511" y="532136"/>
                    <a:pt x="7484080" y="530532"/>
                  </a:cubicBezTo>
                  <a:cubicBezTo>
                    <a:pt x="7413133" y="522044"/>
                    <a:pt x="7341987" y="510303"/>
                    <a:pt x="7282277" y="540177"/>
                  </a:cubicBezTo>
                  <a:cubicBezTo>
                    <a:pt x="7270558" y="546051"/>
                    <a:pt x="7251336" y="547713"/>
                    <a:pt x="7235690" y="551282"/>
                  </a:cubicBezTo>
                  <a:cubicBezTo>
                    <a:pt x="7170161" y="565782"/>
                    <a:pt x="7172820" y="564203"/>
                    <a:pt x="7116339" y="539494"/>
                  </a:cubicBezTo>
                  <a:cubicBezTo>
                    <a:pt x="7086841" y="526502"/>
                    <a:pt x="7045980" y="512724"/>
                    <a:pt x="7011067" y="511848"/>
                  </a:cubicBezTo>
                  <a:cubicBezTo>
                    <a:pt x="6800473" y="506533"/>
                    <a:pt x="6601893" y="468653"/>
                    <a:pt x="6403234" y="432296"/>
                  </a:cubicBezTo>
                  <a:cubicBezTo>
                    <a:pt x="6280760" y="409851"/>
                    <a:pt x="6160432" y="402592"/>
                    <a:pt x="6036273" y="412301"/>
                  </a:cubicBezTo>
                  <a:cubicBezTo>
                    <a:pt x="5946471" y="419425"/>
                    <a:pt x="5863077" y="395593"/>
                    <a:pt x="5780467" y="377910"/>
                  </a:cubicBezTo>
                  <a:cubicBezTo>
                    <a:pt x="5763357" y="374343"/>
                    <a:pt x="5747757" y="363033"/>
                    <a:pt x="5739051" y="353609"/>
                  </a:cubicBezTo>
                  <a:cubicBezTo>
                    <a:pt x="5707675" y="320294"/>
                    <a:pt x="5653252" y="312483"/>
                    <a:pt x="5583566" y="321995"/>
                  </a:cubicBezTo>
                  <a:cubicBezTo>
                    <a:pt x="5528347" y="329404"/>
                    <a:pt x="5477716" y="340486"/>
                    <a:pt x="5432030" y="362512"/>
                  </a:cubicBezTo>
                  <a:cubicBezTo>
                    <a:pt x="5378421" y="388318"/>
                    <a:pt x="5322767" y="418026"/>
                    <a:pt x="5241398" y="425781"/>
                  </a:cubicBezTo>
                  <a:cubicBezTo>
                    <a:pt x="5206262" y="429089"/>
                    <a:pt x="5176131" y="428273"/>
                    <a:pt x="5139710" y="421022"/>
                  </a:cubicBezTo>
                  <a:cubicBezTo>
                    <a:pt x="5069048" y="407018"/>
                    <a:pt x="4997864" y="396037"/>
                    <a:pt x="4929402" y="424310"/>
                  </a:cubicBezTo>
                  <a:cubicBezTo>
                    <a:pt x="4891785" y="439890"/>
                    <a:pt x="4841650" y="448519"/>
                    <a:pt x="4782793" y="441046"/>
                  </a:cubicBezTo>
                  <a:cubicBezTo>
                    <a:pt x="4709316" y="431663"/>
                    <a:pt x="4641426" y="442031"/>
                    <a:pt x="4577594" y="459290"/>
                  </a:cubicBezTo>
                  <a:cubicBezTo>
                    <a:pt x="4554816" y="465538"/>
                    <a:pt x="4527069" y="468279"/>
                    <a:pt x="4500826" y="470529"/>
                  </a:cubicBezTo>
                  <a:cubicBezTo>
                    <a:pt x="4440199" y="475746"/>
                    <a:pt x="4379252" y="479993"/>
                    <a:pt x="4317973" y="483649"/>
                  </a:cubicBezTo>
                  <a:cubicBezTo>
                    <a:pt x="4267762" y="486741"/>
                    <a:pt x="4217264" y="488292"/>
                    <a:pt x="4166722" y="490602"/>
                  </a:cubicBezTo>
                  <a:cubicBezTo>
                    <a:pt x="4111394" y="493045"/>
                    <a:pt x="4067073" y="503124"/>
                    <a:pt x="4042814" y="530660"/>
                  </a:cubicBezTo>
                  <a:cubicBezTo>
                    <a:pt x="4034996" y="539407"/>
                    <a:pt x="4017001" y="545715"/>
                    <a:pt x="4002653" y="552594"/>
                  </a:cubicBezTo>
                  <a:cubicBezTo>
                    <a:pt x="3992459" y="557592"/>
                    <a:pt x="3979023" y="561086"/>
                    <a:pt x="3969549" y="566312"/>
                  </a:cubicBezTo>
                  <a:cubicBezTo>
                    <a:pt x="3919896" y="593854"/>
                    <a:pt x="3870968" y="621622"/>
                    <a:pt x="3821685" y="649183"/>
                  </a:cubicBezTo>
                  <a:cubicBezTo>
                    <a:pt x="3816761" y="651788"/>
                    <a:pt x="3811445" y="654943"/>
                    <a:pt x="3805138" y="655947"/>
                  </a:cubicBezTo>
                  <a:cubicBezTo>
                    <a:pt x="3739817" y="666451"/>
                    <a:pt x="3673801" y="676154"/>
                    <a:pt x="3609177" y="687459"/>
                  </a:cubicBezTo>
                  <a:cubicBezTo>
                    <a:pt x="3584288" y="691878"/>
                    <a:pt x="3558597" y="697589"/>
                    <a:pt x="3539727" y="706521"/>
                  </a:cubicBezTo>
                  <a:cubicBezTo>
                    <a:pt x="3496714" y="726780"/>
                    <a:pt x="3457268" y="749132"/>
                    <a:pt x="3396572" y="755681"/>
                  </a:cubicBezTo>
                  <a:cubicBezTo>
                    <a:pt x="3378807" y="757611"/>
                    <a:pt x="3357809" y="758036"/>
                    <a:pt x="3341054" y="754679"/>
                  </a:cubicBezTo>
                  <a:cubicBezTo>
                    <a:pt x="3272962" y="740809"/>
                    <a:pt x="3206471" y="724541"/>
                    <a:pt x="3138775" y="710120"/>
                  </a:cubicBezTo>
                  <a:cubicBezTo>
                    <a:pt x="3095820" y="701191"/>
                    <a:pt x="3056969" y="691141"/>
                    <a:pt x="3037283" y="666453"/>
                  </a:cubicBezTo>
                  <a:cubicBezTo>
                    <a:pt x="3031764" y="659487"/>
                    <a:pt x="3015626" y="651391"/>
                    <a:pt x="3002117" y="649347"/>
                  </a:cubicBezTo>
                  <a:cubicBezTo>
                    <a:pt x="2915220" y="636209"/>
                    <a:pt x="2829194" y="627503"/>
                    <a:pt x="2747294" y="652400"/>
                  </a:cubicBezTo>
                  <a:cubicBezTo>
                    <a:pt x="2730084" y="657794"/>
                    <a:pt x="2698519" y="656140"/>
                    <a:pt x="2676273" y="652304"/>
                  </a:cubicBezTo>
                  <a:cubicBezTo>
                    <a:pt x="2590546" y="637890"/>
                    <a:pt x="2508883" y="630176"/>
                    <a:pt x="2432360" y="657836"/>
                  </a:cubicBezTo>
                  <a:cubicBezTo>
                    <a:pt x="2423352" y="661179"/>
                    <a:pt x="2395274" y="656272"/>
                    <a:pt x="2382311" y="650824"/>
                  </a:cubicBezTo>
                  <a:cubicBezTo>
                    <a:pt x="2257393" y="597728"/>
                    <a:pt x="2187724" y="592930"/>
                    <a:pt x="2055134" y="630053"/>
                  </a:cubicBezTo>
                  <a:cubicBezTo>
                    <a:pt x="2046542" y="632464"/>
                    <a:pt x="2035364" y="635121"/>
                    <a:pt x="2031829" y="639324"/>
                  </a:cubicBezTo>
                  <a:cubicBezTo>
                    <a:pt x="2007977" y="666120"/>
                    <a:pt x="1960229" y="664380"/>
                    <a:pt x="1912764" y="664183"/>
                  </a:cubicBezTo>
                  <a:cubicBezTo>
                    <a:pt x="1860521" y="663924"/>
                    <a:pt x="1808236" y="664426"/>
                    <a:pt x="1755637" y="663960"/>
                  </a:cubicBezTo>
                  <a:cubicBezTo>
                    <a:pt x="1746439" y="663859"/>
                    <a:pt x="1736243" y="661799"/>
                    <a:pt x="1727159" y="659605"/>
                  </a:cubicBezTo>
                  <a:cubicBezTo>
                    <a:pt x="1692256" y="651480"/>
                    <a:pt x="1658604" y="640559"/>
                    <a:pt x="1622470" y="634850"/>
                  </a:cubicBezTo>
                  <a:cubicBezTo>
                    <a:pt x="1544362" y="622552"/>
                    <a:pt x="1469248" y="602210"/>
                    <a:pt x="1385955" y="604522"/>
                  </a:cubicBezTo>
                  <a:cubicBezTo>
                    <a:pt x="1371585" y="604913"/>
                    <a:pt x="1355357" y="598530"/>
                    <a:pt x="1340055" y="595629"/>
                  </a:cubicBezTo>
                  <a:cubicBezTo>
                    <a:pt x="1312351" y="590552"/>
                    <a:pt x="1285460" y="583993"/>
                    <a:pt x="1257271" y="581180"/>
                  </a:cubicBezTo>
                  <a:cubicBezTo>
                    <a:pt x="1182583" y="573830"/>
                    <a:pt x="1107142" y="566824"/>
                    <a:pt x="1031914" y="562692"/>
                  </a:cubicBezTo>
                  <a:cubicBezTo>
                    <a:pt x="995593" y="560597"/>
                    <a:pt x="958880" y="565923"/>
                    <a:pt x="922031" y="566853"/>
                  </a:cubicBezTo>
                  <a:cubicBezTo>
                    <a:pt x="905446" y="567320"/>
                    <a:pt x="878533" y="568199"/>
                    <a:pt x="873250" y="563724"/>
                  </a:cubicBezTo>
                  <a:cubicBezTo>
                    <a:pt x="832343" y="529722"/>
                    <a:pt x="772202" y="532674"/>
                    <a:pt x="711627" y="529880"/>
                  </a:cubicBezTo>
                  <a:cubicBezTo>
                    <a:pt x="577999" y="523641"/>
                    <a:pt x="447408" y="543696"/>
                    <a:pt x="311112" y="525106"/>
                  </a:cubicBezTo>
                  <a:cubicBezTo>
                    <a:pt x="271645" y="519795"/>
                    <a:pt x="226936" y="530235"/>
                    <a:pt x="184145" y="532188"/>
                  </a:cubicBezTo>
                  <a:cubicBezTo>
                    <a:pt x="162015" y="533128"/>
                    <a:pt x="137665" y="534333"/>
                    <a:pt x="116886" y="530572"/>
                  </a:cubicBezTo>
                  <a:cubicBezTo>
                    <a:pt x="84810" y="524693"/>
                    <a:pt x="54011" y="515448"/>
                    <a:pt x="23941" y="506433"/>
                  </a:cubicBezTo>
                  <a:lnTo>
                    <a:pt x="0" y="502149"/>
                  </a:lnTo>
                  <a:close/>
                </a:path>
              </a:pathLst>
            </a:custGeom>
            <a:blipFill>
              <a:blip r:embed="rId4">
                <a:alphaModFix amt="57000"/>
              </a:blip>
              <a:tile tx="0" ty="0" sx="100000" sy="100000" flip="none" algn="tl"/>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2" name="Content Placeholder 11">
            <a:extLst>
              <a:ext uri="{FF2B5EF4-FFF2-40B4-BE49-F238E27FC236}">
                <a16:creationId xmlns:a16="http://schemas.microsoft.com/office/drawing/2014/main" id="{E4B9BD06-4E0D-FB78-CEDE-027303FAA6AC}"/>
              </a:ext>
            </a:extLst>
          </p:cNvPr>
          <p:cNvSpPr>
            <a:spLocks noGrp="1"/>
          </p:cNvSpPr>
          <p:nvPr>
            <p:ph sz="half" idx="1"/>
          </p:nvPr>
        </p:nvSpPr>
        <p:spPr>
          <a:xfrm>
            <a:off x="5664201" y="4766267"/>
            <a:ext cx="5692774" cy="1077411"/>
          </a:xfrm>
        </p:spPr>
        <p:txBody>
          <a:bodyPr vert="horz" lIns="91440" tIns="45720" rIns="91440" bIns="45720" rtlCol="0">
            <a:normAutofit/>
          </a:bodyPr>
          <a:lstStyle/>
          <a:p>
            <a:r>
              <a:rPr lang="en-US" sz="2200">
                <a:solidFill>
                  <a:schemeClr val="bg1">
                    <a:alpha val="80000"/>
                  </a:schemeClr>
                </a:solidFill>
              </a:rPr>
              <a:t>Den nye hjemmeside kan stadig tilgåes via </a:t>
            </a:r>
            <a:r>
              <a:rPr lang="en-US" sz="2200">
                <a:solidFill>
                  <a:schemeClr val="bg1">
                    <a:alpha val="80000"/>
                  </a:schemeClr>
                </a:solidFill>
                <a:hlinkClick r:id="rId5"/>
              </a:rPr>
              <a:t>www.lfs.dk</a:t>
            </a:r>
            <a:r>
              <a:rPr lang="en-US" sz="2200">
                <a:solidFill>
                  <a:schemeClr val="bg1">
                    <a:alpha val="80000"/>
                  </a:schemeClr>
                </a:solidFill>
              </a:rPr>
              <a:t>, men ligger nu også som en afdeling på www.foa.dk </a:t>
            </a:r>
          </a:p>
        </p:txBody>
      </p:sp>
    </p:spTree>
    <p:extLst>
      <p:ext uri="{BB962C8B-B14F-4D97-AF65-F5344CB8AC3E}">
        <p14:creationId xmlns:p14="http://schemas.microsoft.com/office/powerpoint/2010/main" val="18522212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b="1"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AMU Kurser</a:t>
            </a:r>
          </a:p>
          <a:p>
            <a:pPr marL="342900" lvl="0" indent="-342900">
              <a:lnSpc>
                <a:spcPct val="150000"/>
              </a:lnSpc>
              <a:buFont typeface="+mj-lt"/>
              <a:buAutoNum type="arabicPeriod"/>
            </a:pPr>
            <a:r>
              <a:rPr lang="da-DK" sz="1800" dirty="0">
                <a:effectLst/>
                <a:ea typeface="Times New Roman" panose="02020603050405020304" pitchFamily="18" charset="0"/>
              </a:rPr>
              <a:t>Budget 2025 Frederiksberg</a:t>
            </a:r>
          </a:p>
          <a:p>
            <a:pPr marL="342900" lvl="0" indent="-342900">
              <a:lnSpc>
                <a:spcPct val="150000"/>
              </a:lnSpc>
              <a:buFont typeface="+mj-lt"/>
              <a:buAutoNum type="arabicPeriod"/>
            </a:pPr>
            <a:r>
              <a:rPr lang="da-DK" sz="1800" dirty="0">
                <a:ea typeface="Times New Roman" panose="02020603050405020304" pitchFamily="18" charset="0"/>
              </a:rPr>
              <a:t>Hjemmesiden</a:t>
            </a:r>
          </a:p>
          <a:p>
            <a:pPr marL="342900" lvl="0" indent="-342900">
              <a:lnSpc>
                <a:spcPct val="150000"/>
              </a:lnSpc>
              <a:buFont typeface="+mj-lt"/>
              <a:buAutoNum type="arabicPeriod"/>
            </a:pPr>
            <a:r>
              <a:rPr lang="da-DK" sz="1800" dirty="0">
                <a:effectLst/>
                <a:ea typeface="Times New Roman" panose="02020603050405020304" pitchFamily="18" charset="0"/>
              </a:rPr>
              <a:t>Tid til at mødes med nyansatte i arbejdstiden</a:t>
            </a:r>
          </a:p>
          <a:p>
            <a:pPr marL="342900" lvl="0" indent="-342900">
              <a:lnSpc>
                <a:spcPct val="150000"/>
              </a:lnSpc>
              <a:buFont typeface="+mj-lt"/>
              <a:buAutoNum type="arabicPeriod"/>
            </a:pPr>
            <a:r>
              <a:rPr lang="da-DK" sz="1800" dirty="0">
                <a:effectLst/>
                <a:ea typeface="Times New Roman" panose="02020603050405020304" pitchFamily="18" charset="0"/>
              </a:rPr>
              <a:t>Retningslinjer om krænkende handlinger</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18717159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9" name="Rectangle 8">
            <a:extLst>
              <a:ext uri="{FF2B5EF4-FFF2-40B4-BE49-F238E27FC236}">
                <a16:creationId xmlns:a16="http://schemas.microsoft.com/office/drawing/2014/main" id="{1E214AA7-F028-4A0D-8698-61AEC754D1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159834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07977AC4-F248-8343-CF33-22E3CA486C1E}"/>
              </a:ext>
            </a:extLst>
          </p:cNvPr>
          <p:cNvSpPr>
            <a:spLocks noGrp="1"/>
          </p:cNvSpPr>
          <p:nvPr>
            <p:ph type="title"/>
          </p:nvPr>
        </p:nvSpPr>
        <p:spPr>
          <a:xfrm>
            <a:off x="1159933" y="995318"/>
            <a:ext cx="9872134" cy="1193968"/>
          </a:xfrm>
          <a:solidFill>
            <a:srgbClr val="FFFFFF"/>
          </a:solidFill>
          <a:ln w="38100">
            <a:solidFill>
              <a:srgbClr val="7F7F7F"/>
            </a:solidFill>
            <a:miter lim="800000"/>
          </a:ln>
        </p:spPr>
        <p:txBody>
          <a:bodyPr>
            <a:normAutofit/>
          </a:bodyPr>
          <a:lstStyle/>
          <a:p>
            <a:pPr algn="ctr"/>
            <a:r>
              <a:rPr lang="da-DK" sz="3600">
                <a:solidFill>
                  <a:srgbClr val="3F3F3F"/>
                </a:solidFill>
              </a:rPr>
              <a:t>Ny hjemmeside:</a:t>
            </a:r>
          </a:p>
        </p:txBody>
      </p:sp>
      <p:sp>
        <p:nvSpPr>
          <p:cNvPr id="3" name="Pladsholder til indhold 2">
            <a:extLst>
              <a:ext uri="{FF2B5EF4-FFF2-40B4-BE49-F238E27FC236}">
                <a16:creationId xmlns:a16="http://schemas.microsoft.com/office/drawing/2014/main" id="{D9E0CEAF-8B6D-AA1F-1517-598C95FE487C}"/>
              </a:ext>
            </a:extLst>
          </p:cNvPr>
          <p:cNvSpPr>
            <a:spLocks noGrp="1"/>
          </p:cNvSpPr>
          <p:nvPr>
            <p:ph sz="half" idx="1"/>
          </p:nvPr>
        </p:nvSpPr>
        <p:spPr>
          <a:xfrm>
            <a:off x="1476915" y="2888250"/>
            <a:ext cx="4297351" cy="2959777"/>
          </a:xfrm>
        </p:spPr>
        <p:txBody>
          <a:bodyPr anchor="t">
            <a:normAutofit fontScale="92500"/>
          </a:bodyPr>
          <a:lstStyle/>
          <a:p>
            <a:endParaRPr lang="da-DK" sz="2000"/>
          </a:p>
          <a:p>
            <a:r>
              <a:rPr lang="da-DK" sz="2000"/>
              <a:t>Den nye hjemmeside skulle være mere tilgængelig og lettere at overskue</a:t>
            </a:r>
          </a:p>
          <a:p>
            <a:r>
              <a:rPr lang="da-DK" sz="2000"/>
              <a:t>Det er tydeligere vi er en del forbundet FOA</a:t>
            </a:r>
          </a:p>
        </p:txBody>
      </p:sp>
      <p:cxnSp>
        <p:nvCxnSpPr>
          <p:cNvPr id="20" name="Straight Connector 10">
            <a:extLst>
              <a:ext uri="{FF2B5EF4-FFF2-40B4-BE49-F238E27FC236}">
                <a16:creationId xmlns:a16="http://schemas.microsoft.com/office/drawing/2014/main" id="{D6206FDC-2777-4D7F-AF9C-73413DA664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2888250"/>
            <a:ext cx="0" cy="2769135"/>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sp>
        <p:nvSpPr>
          <p:cNvPr id="4" name="Pladsholder til indhold 3">
            <a:extLst>
              <a:ext uri="{FF2B5EF4-FFF2-40B4-BE49-F238E27FC236}">
                <a16:creationId xmlns:a16="http://schemas.microsoft.com/office/drawing/2014/main" id="{5C396EE1-68C0-4271-54A0-02DF5DA6292B}"/>
              </a:ext>
            </a:extLst>
          </p:cNvPr>
          <p:cNvSpPr>
            <a:spLocks noGrp="1"/>
          </p:cNvSpPr>
          <p:nvPr>
            <p:ph sz="half" idx="2"/>
          </p:nvPr>
        </p:nvSpPr>
        <p:spPr>
          <a:xfrm>
            <a:off x="6417731" y="2888250"/>
            <a:ext cx="4292594" cy="2959778"/>
          </a:xfrm>
        </p:spPr>
        <p:txBody>
          <a:bodyPr anchor="t">
            <a:normAutofit fontScale="92500"/>
          </a:bodyPr>
          <a:lstStyle/>
          <a:p>
            <a:r>
              <a:rPr lang="da-DK" sz="2000" dirty="0"/>
              <a:t>Der er ikke længere LFS boks – alt skal nu sendes via ´min post´ under ´Mit FOA´</a:t>
            </a:r>
          </a:p>
          <a:p>
            <a:r>
              <a:rPr lang="da-DK" sz="2000" dirty="0"/>
              <a:t>Man kan ikke længere finde aftaler på hjemmesiden, men relevante aftaler bør være tilgængelige via </a:t>
            </a:r>
            <a:r>
              <a:rPr lang="da-DK" sz="2000" dirty="0" err="1"/>
              <a:t>TR-APP´en</a:t>
            </a:r>
            <a:r>
              <a:rPr lang="da-DK" sz="2000" dirty="0"/>
              <a:t>. Det er også her medlemslisten findes.</a:t>
            </a:r>
          </a:p>
          <a:p>
            <a:r>
              <a:rPr lang="da-DK" sz="2000" dirty="0"/>
              <a:t>Alle udfordringer eller kritik af den nye hjemmeside skal sendes til FU på lfs@lfs.dk</a:t>
            </a:r>
          </a:p>
        </p:txBody>
      </p:sp>
    </p:spTree>
    <p:extLst>
      <p:ext uri="{BB962C8B-B14F-4D97-AF65-F5344CB8AC3E}">
        <p14:creationId xmlns:p14="http://schemas.microsoft.com/office/powerpoint/2010/main" val="338817042"/>
      </p:ext>
    </p:extLst>
  </p:cSld>
  <p:clrMapOvr>
    <a:overrideClrMapping bg1="dk1" tx1="lt1" bg2="dk2" tx2="lt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AMU Kurser</a:t>
            </a:r>
          </a:p>
          <a:p>
            <a:pPr marL="342900" lvl="0" indent="-342900">
              <a:lnSpc>
                <a:spcPct val="150000"/>
              </a:lnSpc>
              <a:buFont typeface="+mj-lt"/>
              <a:buAutoNum type="arabicPeriod"/>
            </a:pPr>
            <a:r>
              <a:rPr lang="da-DK" sz="1800" dirty="0">
                <a:effectLst/>
                <a:ea typeface="Times New Roman" panose="02020603050405020304" pitchFamily="18" charset="0"/>
              </a:rPr>
              <a:t>Budget 2025 Frederiksberg</a:t>
            </a:r>
          </a:p>
          <a:p>
            <a:pPr marL="342900" lvl="0" indent="-342900">
              <a:lnSpc>
                <a:spcPct val="150000"/>
              </a:lnSpc>
              <a:buFont typeface="+mj-lt"/>
              <a:buAutoNum type="arabicPeriod"/>
            </a:pPr>
            <a:r>
              <a:rPr lang="da-DK" sz="1800" dirty="0">
                <a:ea typeface="Times New Roman" panose="02020603050405020304" pitchFamily="18" charset="0"/>
              </a:rPr>
              <a:t>Hjemmesiden</a:t>
            </a:r>
          </a:p>
          <a:p>
            <a:pPr marL="342900" lvl="0" indent="-342900">
              <a:lnSpc>
                <a:spcPct val="150000"/>
              </a:lnSpc>
              <a:buFont typeface="+mj-lt"/>
              <a:buAutoNum type="arabicPeriod"/>
            </a:pPr>
            <a:r>
              <a:rPr lang="da-DK" sz="1800" b="1" dirty="0">
                <a:effectLst/>
                <a:ea typeface="Times New Roman" panose="02020603050405020304" pitchFamily="18" charset="0"/>
              </a:rPr>
              <a:t>Tid til at mødes med nyansatte i arbejdstiden</a:t>
            </a:r>
          </a:p>
          <a:p>
            <a:pPr marL="342900" lvl="0" indent="-342900">
              <a:lnSpc>
                <a:spcPct val="150000"/>
              </a:lnSpc>
              <a:buFont typeface="+mj-lt"/>
              <a:buAutoNum type="arabicPeriod"/>
            </a:pPr>
            <a:r>
              <a:rPr lang="da-DK" sz="1800" dirty="0">
                <a:effectLst/>
                <a:ea typeface="Times New Roman" panose="02020603050405020304" pitchFamily="18" charset="0"/>
              </a:rPr>
              <a:t>Retningslinjer om krænkende handlinger</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11567091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19D32F93-50AC-4C46-A5DB-291C60DDB7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Triangle 23">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91F80482-79DB-21B6-DB25-E89460A55E63}"/>
              </a:ext>
            </a:extLst>
          </p:cNvPr>
          <p:cNvSpPr>
            <a:spLocks noGrp="1"/>
          </p:cNvSpPr>
          <p:nvPr>
            <p:ph type="title"/>
          </p:nvPr>
        </p:nvSpPr>
        <p:spPr>
          <a:xfrm>
            <a:off x="965200" y="1383528"/>
            <a:ext cx="5925989" cy="3167510"/>
          </a:xfrm>
        </p:spPr>
        <p:txBody>
          <a:bodyPr vert="horz" lIns="91440" tIns="45720" rIns="91440" bIns="45720" rtlCol="0" anchor="b">
            <a:normAutofit/>
          </a:bodyPr>
          <a:lstStyle/>
          <a:p>
            <a:pPr algn="r"/>
            <a:r>
              <a:rPr kumimoji="0" lang="en-US" sz="7400" b="1" i="0" u="none" strike="noStrike" kern="1200" cap="none" spc="0" normalizeH="0" baseline="0" noProof="0">
                <a:ln>
                  <a:noFill/>
                </a:ln>
                <a:solidFill>
                  <a:schemeClr val="tx1"/>
                </a:solidFill>
                <a:effectLst/>
                <a:uLnTx/>
                <a:uFillTx/>
                <a:latin typeface="+mj-lt"/>
                <a:ea typeface="+mj-ea"/>
                <a:cs typeface="+mj-cs"/>
              </a:rPr>
              <a:t>Tid til at mødes med nyansatte i arbejdstiden</a:t>
            </a:r>
            <a:endParaRPr lang="en-US" sz="7400" kern="1200">
              <a:solidFill>
                <a:schemeClr val="tx1"/>
              </a:solidFill>
              <a:latin typeface="+mj-lt"/>
              <a:ea typeface="+mj-ea"/>
              <a:cs typeface="+mj-cs"/>
            </a:endParaRPr>
          </a:p>
        </p:txBody>
      </p:sp>
      <p:pic>
        <p:nvPicPr>
          <p:cNvPr id="7" name="Content Placeholder 6" descr="Brugere">
            <a:extLst>
              <a:ext uri="{FF2B5EF4-FFF2-40B4-BE49-F238E27FC236}">
                <a16:creationId xmlns:a16="http://schemas.microsoft.com/office/drawing/2014/main" id="{00BD59C9-CA54-BAD8-F953-8F0586889F4F}"/>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99140" y="2209474"/>
            <a:ext cx="2489416" cy="2489416"/>
          </a:xfrm>
          <a:prstGeom prst="rect">
            <a:avLst/>
          </a:prstGeom>
        </p:spPr>
      </p:pic>
    </p:spTree>
    <p:extLst>
      <p:ext uri="{BB962C8B-B14F-4D97-AF65-F5344CB8AC3E}">
        <p14:creationId xmlns:p14="http://schemas.microsoft.com/office/powerpoint/2010/main" val="10755365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BC1F6-36C8-42B4-60B3-22419596AE51}"/>
              </a:ext>
            </a:extLst>
          </p:cNvPr>
          <p:cNvSpPr>
            <a:spLocks noGrp="1"/>
          </p:cNvSpPr>
          <p:nvPr>
            <p:ph type="title"/>
          </p:nvPr>
        </p:nvSpPr>
        <p:spPr/>
        <p:txBody>
          <a:bodyPr>
            <a:normAutofit/>
          </a:bodyPr>
          <a:lstStyle/>
          <a:p>
            <a:pPr marR="0" lvl="0" algn="l" defTabSz="914400" rtl="0" eaLnBrk="1" fontAlgn="auto" latinLnBrk="0" hangingPunct="1">
              <a:lnSpc>
                <a:spcPct val="150000"/>
              </a:lnSpc>
              <a:spcBef>
                <a:spcPts val="1000"/>
              </a:spcBef>
              <a:spcAft>
                <a:spcPts val="0"/>
              </a:spcAft>
              <a:buClrTx/>
              <a:buSzTx/>
              <a:tabLst/>
              <a:defRPr/>
            </a:pPr>
            <a:r>
              <a:rPr kumimoji="0" lang="da-DK" sz="3600" b="1" i="0" u="none" strike="noStrike" kern="1200" cap="none" spc="0" normalizeH="0" baseline="0" noProof="0" dirty="0">
                <a:ln>
                  <a:noFill/>
                </a:ln>
                <a:solidFill>
                  <a:prstClr val="black"/>
                </a:solidFill>
                <a:effectLst/>
                <a:uLnTx/>
                <a:uFillTx/>
                <a:latin typeface="Calibri" panose="020F0502020204030204"/>
                <a:ea typeface="Times New Roman" panose="02020603050405020304" pitchFamily="18" charset="0"/>
                <a:cs typeface="+mn-cs"/>
              </a:rPr>
              <a:t>Tid til at mødes med nyansatte i arbejdstiden</a:t>
            </a:r>
          </a:p>
        </p:txBody>
      </p:sp>
      <p:pic>
        <p:nvPicPr>
          <p:cNvPr id="6" name="Pladsholder til indhold 5" descr="Et billede, der indeholder tekst, Font/skrifttype, skærmbillede, algebra&#10;&#10;Automatisk genereret beskrivelse">
            <a:extLst>
              <a:ext uri="{FF2B5EF4-FFF2-40B4-BE49-F238E27FC236}">
                <a16:creationId xmlns:a16="http://schemas.microsoft.com/office/drawing/2014/main" id="{2ACA4FD1-014B-8C30-44CD-A16CA84B6F08}"/>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297274" y="2586182"/>
            <a:ext cx="5798726" cy="2475345"/>
          </a:xfrm>
        </p:spPr>
      </p:pic>
      <p:graphicFrame>
        <p:nvGraphicFramePr>
          <p:cNvPr id="8" name="Pladsholder til indhold 3">
            <a:extLst>
              <a:ext uri="{FF2B5EF4-FFF2-40B4-BE49-F238E27FC236}">
                <a16:creationId xmlns:a16="http://schemas.microsoft.com/office/drawing/2014/main" id="{F5B14745-FD43-9702-CEF9-0131FA9EA296}"/>
              </a:ext>
            </a:extLst>
          </p:cNvPr>
          <p:cNvGraphicFramePr>
            <a:graphicFrameLocks noGrp="1"/>
          </p:cNvGraphicFramePr>
          <p:nvPr>
            <p:ph sz="half" idx="2"/>
            <p:extLst>
              <p:ext uri="{D42A27DB-BD31-4B8C-83A1-F6EECF244321}">
                <p14:modId xmlns:p14="http://schemas.microsoft.com/office/powerpoint/2010/main" val="1853664202"/>
              </p:ext>
            </p:extLst>
          </p:nvPr>
        </p:nvGraphicFramePr>
        <p:xfrm>
          <a:off x="6172200" y="1825625"/>
          <a:ext cx="5181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977059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22C259B0-ED4C-7EA0-DDF4-240C75157AA3}"/>
              </a:ext>
            </a:extLst>
          </p:cNvPr>
          <p:cNvSpPr>
            <a:spLocks noGrp="1"/>
          </p:cNvSpPr>
          <p:nvPr>
            <p:ph type="title"/>
          </p:nvPr>
        </p:nvSpPr>
        <p:spPr>
          <a:xfrm>
            <a:off x="1075767" y="1188637"/>
            <a:ext cx="2988234" cy="4480726"/>
          </a:xfrm>
        </p:spPr>
        <p:txBody>
          <a:bodyPr>
            <a:normAutofit/>
          </a:bodyPr>
          <a:lstStyle/>
          <a:p>
            <a:pPr algn="r"/>
            <a:r>
              <a:rPr kumimoji="0" lang="da-DK" sz="4100" b="1" i="0" u="none" strike="noStrike" kern="1200" cap="none" spc="0" normalizeH="0" baseline="0" noProof="0">
                <a:ln>
                  <a:noFill/>
                </a:ln>
                <a:effectLst/>
                <a:uLnTx/>
                <a:uFillTx/>
                <a:latin typeface="Calibri" panose="020F0502020204030204"/>
                <a:ea typeface="Times New Roman" panose="02020603050405020304" pitchFamily="18" charset="0"/>
                <a:cs typeface="+mj-cs"/>
              </a:rPr>
              <a:t>Tid til at mødes med nyansatte i arbejdstiden</a:t>
            </a:r>
            <a:endParaRPr lang="da-DK" sz="4100"/>
          </a:p>
        </p:txBody>
      </p:sp>
      <p:cxnSp>
        <p:nvCxnSpPr>
          <p:cNvPr id="14" name="Straight Connector 13">
            <a:extLst>
              <a:ext uri="{FF2B5EF4-FFF2-40B4-BE49-F238E27FC236}">
                <a16:creationId xmlns:a16="http://schemas.microsoft.com/office/drawing/2014/main" id="{23AAC9B5-8015-485C-ACF9-A750390E9A5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Pladsholder til indhold 2">
            <a:extLst>
              <a:ext uri="{FF2B5EF4-FFF2-40B4-BE49-F238E27FC236}">
                <a16:creationId xmlns:a16="http://schemas.microsoft.com/office/drawing/2014/main" id="{8784BDC2-E9F6-C3AC-D0F8-51125372F2E2}"/>
              </a:ext>
            </a:extLst>
          </p:cNvPr>
          <p:cNvSpPr>
            <a:spLocks noGrp="1"/>
          </p:cNvSpPr>
          <p:nvPr>
            <p:ph idx="1"/>
          </p:nvPr>
        </p:nvSpPr>
        <p:spPr>
          <a:xfrm>
            <a:off x="5255260" y="1648870"/>
            <a:ext cx="4702848" cy="3560260"/>
          </a:xfrm>
        </p:spPr>
        <p:txBody>
          <a:bodyPr anchor="ctr">
            <a:normAutofit/>
          </a:bodyPr>
          <a:lstStyle/>
          <a:p>
            <a:r>
              <a:rPr lang="da-DK" sz="2400" dirty="0"/>
              <a:t>Løft i MED hvordan dette skal gøres jer.</a:t>
            </a:r>
          </a:p>
          <a:p>
            <a:pPr marL="0" indent="0">
              <a:buNone/>
            </a:pPr>
            <a:endParaRPr lang="da-DK" sz="2400" dirty="0"/>
          </a:p>
          <a:p>
            <a:pPr marL="228600" marR="0" lvl="0" indent="-228600" defTabSz="914400" rtl="0" eaLnBrk="1" fontAlgn="auto" latinLnBrk="0" hangingPunct="1">
              <a:spcBef>
                <a:spcPts val="1000"/>
              </a:spcBef>
              <a:spcAft>
                <a:spcPts val="0"/>
              </a:spcAft>
              <a:buClrTx/>
              <a:buSzTx/>
              <a:buFont typeface="Arial" panose="020B0604020202020204" pitchFamily="34" charset="0"/>
              <a:buChar char="•"/>
              <a:tabLst/>
              <a:defRPr/>
            </a:pPr>
            <a:r>
              <a:rPr kumimoji="0" lang="da-DK" sz="2400" b="0" i="0" u="none" strike="noStrike" kern="1200" cap="none" spc="0" normalizeH="0" baseline="0" noProof="0" dirty="0">
                <a:ln>
                  <a:noFill/>
                </a:ln>
                <a:effectLst/>
                <a:uLnTx/>
                <a:uFillTx/>
                <a:latin typeface="Calibri" panose="020F0502020204030204"/>
                <a:ea typeface="+mn-ea"/>
                <a:cs typeface="+mn-cs"/>
              </a:rPr>
              <a:t>Dette gælder alle nyansatte.</a:t>
            </a:r>
          </a:p>
          <a:p>
            <a:pPr marL="0" indent="0">
              <a:buNone/>
            </a:pPr>
            <a:endParaRPr lang="da-DK" sz="2400" dirty="0"/>
          </a:p>
          <a:p>
            <a:r>
              <a:rPr lang="da-DK" sz="2400" dirty="0"/>
              <a:t>Skaber det udfordringer vil vi meget gerne orienteres.</a:t>
            </a:r>
          </a:p>
        </p:txBody>
      </p:sp>
    </p:spTree>
    <p:extLst>
      <p:ext uri="{BB962C8B-B14F-4D97-AF65-F5344CB8AC3E}">
        <p14:creationId xmlns:p14="http://schemas.microsoft.com/office/powerpoint/2010/main" val="31454922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AMU Kurser</a:t>
            </a:r>
          </a:p>
          <a:p>
            <a:pPr marL="342900" lvl="0" indent="-342900">
              <a:lnSpc>
                <a:spcPct val="150000"/>
              </a:lnSpc>
              <a:buFont typeface="+mj-lt"/>
              <a:buAutoNum type="arabicPeriod"/>
            </a:pPr>
            <a:r>
              <a:rPr lang="da-DK" sz="1800" dirty="0">
                <a:effectLst/>
                <a:ea typeface="Times New Roman" panose="02020603050405020304" pitchFamily="18" charset="0"/>
              </a:rPr>
              <a:t>Budget 2025 Frederiksberg</a:t>
            </a:r>
          </a:p>
          <a:p>
            <a:pPr marL="342900" lvl="0" indent="-342900">
              <a:lnSpc>
                <a:spcPct val="150000"/>
              </a:lnSpc>
              <a:buFont typeface="+mj-lt"/>
              <a:buAutoNum type="arabicPeriod"/>
            </a:pPr>
            <a:r>
              <a:rPr lang="da-DK" sz="1800" dirty="0">
                <a:ea typeface="Times New Roman" panose="02020603050405020304" pitchFamily="18" charset="0"/>
              </a:rPr>
              <a:t>Hjemmesiden</a:t>
            </a:r>
          </a:p>
          <a:p>
            <a:pPr marL="342900" lvl="0" indent="-342900">
              <a:lnSpc>
                <a:spcPct val="150000"/>
              </a:lnSpc>
              <a:buFont typeface="+mj-lt"/>
              <a:buAutoNum type="arabicPeriod"/>
            </a:pPr>
            <a:r>
              <a:rPr lang="da-DK" sz="1800" dirty="0">
                <a:effectLst/>
                <a:ea typeface="Times New Roman" panose="02020603050405020304" pitchFamily="18" charset="0"/>
              </a:rPr>
              <a:t>Tid til at mødes med nyansatte i arbejdstiden</a:t>
            </a:r>
          </a:p>
          <a:p>
            <a:pPr marL="342900" lvl="0" indent="-342900">
              <a:lnSpc>
                <a:spcPct val="150000"/>
              </a:lnSpc>
              <a:buFont typeface="+mj-lt"/>
              <a:buAutoNum type="arabicPeriod"/>
            </a:pPr>
            <a:r>
              <a:rPr lang="da-DK" sz="1800" b="1" dirty="0">
                <a:effectLst/>
                <a:ea typeface="Times New Roman" panose="02020603050405020304" pitchFamily="18" charset="0"/>
              </a:rPr>
              <a:t>Retningslinjer om krænkende handlinger</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28494575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43C823D3-D619-407C-89E0-C6F6B1E7A4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47F8E3E-2FFA-4A0F-B3C7-E57ADDCFB4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a:xfrm>
            <a:off x="1179226" y="1594707"/>
            <a:ext cx="9833548" cy="1325563"/>
          </a:xfrm>
        </p:spPr>
        <p:txBody>
          <a:bodyPr anchor="b">
            <a:normAutofit/>
          </a:bodyPr>
          <a:lstStyle/>
          <a:p>
            <a:pPr algn="ctr"/>
            <a:r>
              <a:rPr lang="da-DK" sz="3600">
                <a:solidFill>
                  <a:schemeClr val="tx2"/>
                </a:solidFill>
              </a:rPr>
              <a:t>Retningslinjer for vold og trusler:</a:t>
            </a:r>
          </a:p>
        </p:txBody>
      </p:sp>
      <p:grpSp>
        <p:nvGrpSpPr>
          <p:cNvPr id="31" name="Group 30">
            <a:extLst>
              <a:ext uri="{FF2B5EF4-FFF2-40B4-BE49-F238E27FC236}">
                <a16:creationId xmlns:a16="http://schemas.microsoft.com/office/drawing/2014/main" id="{33D939F1-7ABE-4D0E-946A-43F37F556A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3346102" cy="2510865"/>
            <a:chOff x="-305" y="-1"/>
            <a:chExt cx="3832880" cy="2876136"/>
          </a:xfrm>
        </p:grpSpPr>
        <p:sp>
          <p:nvSpPr>
            <p:cNvPr id="32" name="Freeform: Shape 31">
              <a:extLst>
                <a:ext uri="{FF2B5EF4-FFF2-40B4-BE49-F238E27FC236}">
                  <a16:creationId xmlns:a16="http://schemas.microsoft.com/office/drawing/2014/main" id="{63FE0426-0FE4-451E-A8BB-08DA6A6AC2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4A32F7E8-35B4-451F-AA07-AECF7CA1D5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Shape 33">
              <a:extLst>
                <a:ext uri="{FF2B5EF4-FFF2-40B4-BE49-F238E27FC236}">
                  <a16:creationId xmlns:a16="http://schemas.microsoft.com/office/drawing/2014/main" id="{E1097796-C3C8-4772-9EBD-9F5CA368F5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Shape 34">
              <a:extLst>
                <a:ext uri="{FF2B5EF4-FFF2-40B4-BE49-F238E27FC236}">
                  <a16:creationId xmlns:a16="http://schemas.microsoft.com/office/drawing/2014/main" id="{EC4BC137-BB50-4235-A83F-4B4EEE15904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1179226" y="3329677"/>
            <a:ext cx="9833548" cy="2457269"/>
          </a:xfrm>
        </p:spPr>
        <p:txBody>
          <a:bodyPr>
            <a:normAutofit/>
          </a:bodyPr>
          <a:lstStyle/>
          <a:p>
            <a:r>
              <a:rPr lang="da-DK" sz="1800" b="0" i="0" u="none" strike="noStrike" baseline="0">
                <a:solidFill>
                  <a:schemeClr val="tx2"/>
                </a:solidFill>
                <a:latin typeface="Verdana" panose="020B0604030504040204" pitchFamily="34" charset="0"/>
              </a:rPr>
              <a:t>Frederiksberg Kommunes retningslinjer mod arbejdsrelateret vold, trusler og krænkende handlinger beskriver, hvordan ledere og medarbejdere på Frederiksberg Kommunes arbejdspladser skal forholde sig, hvis de bliver udsat for arbejdsrelateret vold, trusler og anden uacceptabel adfærd fra borgere. </a:t>
            </a:r>
            <a:endParaRPr lang="da-DK" sz="1800">
              <a:solidFill>
                <a:schemeClr val="tx2"/>
              </a:solidFill>
            </a:endParaRPr>
          </a:p>
        </p:txBody>
      </p:sp>
      <p:grpSp>
        <p:nvGrpSpPr>
          <p:cNvPr id="37" name="Group 36">
            <a:extLst>
              <a:ext uri="{FF2B5EF4-FFF2-40B4-BE49-F238E27FC236}">
                <a16:creationId xmlns:a16="http://schemas.microsoft.com/office/drawing/2014/main" id="{9DB3963A-4187-4A72-9DA4-CA6BADE2293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9072780" y="3734338"/>
            <a:ext cx="3878664" cy="2368659"/>
            <a:chOff x="6867015" y="-1"/>
            <a:chExt cx="5324985" cy="3251912"/>
          </a:xfrm>
          <a:solidFill>
            <a:schemeClr val="accent5">
              <a:alpha val="10000"/>
            </a:schemeClr>
          </a:solidFill>
        </p:grpSpPr>
        <p:sp>
          <p:nvSpPr>
            <p:cNvPr id="38" name="Freeform: Shape 37">
              <a:extLst>
                <a:ext uri="{FF2B5EF4-FFF2-40B4-BE49-F238E27FC236}">
                  <a16:creationId xmlns:a16="http://schemas.microsoft.com/office/drawing/2014/main" id="{2428E75E-001A-4568-B035-574F1303EF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64AC8CFC-1164-4525-82A0-25F75ADCF4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Shape 39">
              <a:extLst>
                <a:ext uri="{FF2B5EF4-FFF2-40B4-BE49-F238E27FC236}">
                  <a16:creationId xmlns:a16="http://schemas.microsoft.com/office/drawing/2014/main" id="{6F35C856-5B70-4CA2-BB8F-A37197D8F9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Shape 40">
              <a:extLst>
                <a:ext uri="{FF2B5EF4-FFF2-40B4-BE49-F238E27FC236}">
                  <a16:creationId xmlns:a16="http://schemas.microsoft.com/office/drawing/2014/main" id="{550FD8B0-DE97-47B1-84ED-67A3BD00FE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959166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D038248A-211C-4EEC-8401-C761B929FB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30A849F-66D9-40C8-BEC8-35AFF8F45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a:xfrm>
            <a:off x="1179226" y="1280679"/>
            <a:ext cx="9833548" cy="1325563"/>
          </a:xfrm>
        </p:spPr>
        <p:txBody>
          <a:bodyPr anchor="b">
            <a:normAutofit/>
          </a:bodyPr>
          <a:lstStyle/>
          <a:p>
            <a:pPr algn="ctr"/>
            <a:r>
              <a:rPr lang="da-DK" sz="3600">
                <a:solidFill>
                  <a:schemeClr val="tx2"/>
                </a:solidFill>
              </a:rPr>
              <a:t>Der skal udarbejdes en lokal handlingsplan:</a:t>
            </a:r>
          </a:p>
        </p:txBody>
      </p:sp>
      <p:grpSp>
        <p:nvGrpSpPr>
          <p:cNvPr id="28" name="Group 27">
            <a:extLst>
              <a:ext uri="{FF2B5EF4-FFF2-40B4-BE49-F238E27FC236}">
                <a16:creationId xmlns:a16="http://schemas.microsoft.com/office/drawing/2014/main" id="{04542298-A2B1-480F-A11C-A40EDD19B8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89890" y="0"/>
            <a:ext cx="3902110" cy="2382977"/>
            <a:chOff x="6867015" y="-1"/>
            <a:chExt cx="5324985" cy="3251912"/>
          </a:xfrm>
          <a:solidFill>
            <a:schemeClr val="accent5">
              <a:alpha val="10000"/>
            </a:schemeClr>
          </a:solidFill>
        </p:grpSpPr>
        <p:sp>
          <p:nvSpPr>
            <p:cNvPr id="29" name="Freeform: Shape 28">
              <a:extLst>
                <a:ext uri="{FF2B5EF4-FFF2-40B4-BE49-F238E27FC236}">
                  <a16:creationId xmlns:a16="http://schemas.microsoft.com/office/drawing/2014/main" id="{74AEB45E-B965-46A0-8557-C646B5011B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Shape 29">
              <a:extLst>
                <a:ext uri="{FF2B5EF4-FFF2-40B4-BE49-F238E27FC236}">
                  <a16:creationId xmlns:a16="http://schemas.microsoft.com/office/drawing/2014/main" id="{921A22C7-11AD-44B0-9BF7-6E3A45821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87049D82-B7F3-4192-8337-4BDB16955E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24A7FAD9-577C-4D2E-A3B5-C6D0A39D47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1179226" y="2890979"/>
            <a:ext cx="9833548" cy="2693976"/>
          </a:xfrm>
        </p:spPr>
        <p:txBody>
          <a:bodyPr>
            <a:normAutofit/>
          </a:bodyPr>
          <a:lstStyle/>
          <a:p>
            <a:pPr marL="0" indent="0">
              <a:buNone/>
            </a:pPr>
            <a:r>
              <a:rPr lang="da-DK" sz="1400" b="0" i="0" u="none" strike="noStrike" baseline="0">
                <a:solidFill>
                  <a:schemeClr val="tx2"/>
                </a:solidFill>
                <a:latin typeface="Verdana" panose="020B0604030504040204" pitchFamily="34" charset="0"/>
              </a:rPr>
              <a:t>Ledelsen på arbejdspladsen har ansvar for, at den lokale handlingsplan bliver udarbejdet i dialog med medarbejderne og, at medarbejderne har viden til at kunne forebygge og håndtere episoder med arbejdsrelateret vold, trusler og krænkende handlinger herunder yde støtte til en kollega. </a:t>
            </a:r>
          </a:p>
          <a:p>
            <a:pPr marL="0" indent="0">
              <a:buNone/>
            </a:pPr>
            <a:r>
              <a:rPr lang="da-DK" sz="1400" b="0" i="0" u="none" strike="noStrike" baseline="0">
                <a:solidFill>
                  <a:schemeClr val="tx2"/>
                </a:solidFill>
                <a:latin typeface="Verdana" panose="020B0604030504040204" pitchFamily="34" charset="0"/>
              </a:rPr>
              <a:t>Lokal handleplan skal omfatte: </a:t>
            </a:r>
          </a:p>
          <a:p>
            <a:pPr marL="0" indent="0">
              <a:buNone/>
            </a:pPr>
            <a:r>
              <a:rPr lang="da-DK" sz="1400" b="0" i="0" u="none" strike="noStrike" baseline="0">
                <a:solidFill>
                  <a:schemeClr val="tx2"/>
                </a:solidFill>
                <a:latin typeface="Verdana" panose="020B0604030504040204" pitchFamily="34" charset="0"/>
              </a:rPr>
              <a:t>1. Målsætning med de lokale retningslinjer </a:t>
            </a:r>
          </a:p>
          <a:p>
            <a:pPr marL="0" indent="0">
              <a:buNone/>
            </a:pPr>
            <a:r>
              <a:rPr lang="da-DK" sz="1400" b="0" i="0" u="none" strike="noStrike" baseline="0">
                <a:solidFill>
                  <a:schemeClr val="tx2"/>
                </a:solidFill>
                <a:latin typeface="Verdana" panose="020B0604030504040204" pitchFamily="34" charset="0"/>
              </a:rPr>
              <a:t>2. Handlingsplan for forebyggende initiativer (før en voldshændelse) </a:t>
            </a:r>
          </a:p>
          <a:p>
            <a:pPr marL="0" indent="0">
              <a:buNone/>
            </a:pPr>
            <a:r>
              <a:rPr lang="da-DK" sz="1400" b="0" i="0" u="none" strike="noStrike" baseline="0">
                <a:solidFill>
                  <a:schemeClr val="tx2"/>
                </a:solidFill>
                <a:latin typeface="Verdana" panose="020B0604030504040204" pitchFamily="34" charset="0"/>
              </a:rPr>
              <a:t>3. Kriseplan (under en voldshændelse) </a:t>
            </a:r>
          </a:p>
          <a:p>
            <a:pPr marL="0" indent="0">
              <a:buNone/>
            </a:pPr>
            <a:r>
              <a:rPr lang="da-DK" sz="1400" b="0" i="0" u="none" strike="noStrike" baseline="0">
                <a:solidFill>
                  <a:schemeClr val="tx2"/>
                </a:solidFill>
                <a:latin typeface="Verdana" panose="020B0604030504040204" pitchFamily="34" charset="0"/>
              </a:rPr>
              <a:t>4. Procedure for opfølgning (efter en voldshændelse) </a:t>
            </a:r>
          </a:p>
          <a:p>
            <a:pPr marL="0" indent="0">
              <a:buNone/>
            </a:pPr>
            <a:r>
              <a:rPr lang="da-DK" sz="1400" b="0" i="0" u="none" strike="noStrike" baseline="0">
                <a:solidFill>
                  <a:schemeClr val="tx2"/>
                </a:solidFill>
                <a:latin typeface="Verdana" panose="020B0604030504040204" pitchFamily="34" charset="0"/>
              </a:rPr>
              <a:t>5. Aftale om løbende evaluering og justering af de lokale retningslinjer </a:t>
            </a:r>
          </a:p>
          <a:p>
            <a:endParaRPr lang="da-DK" sz="1400">
              <a:solidFill>
                <a:schemeClr val="tx2"/>
              </a:solidFill>
            </a:endParaRPr>
          </a:p>
        </p:txBody>
      </p:sp>
      <p:grpSp>
        <p:nvGrpSpPr>
          <p:cNvPr id="34" name="Group 33">
            <a:extLst>
              <a:ext uri="{FF2B5EF4-FFF2-40B4-BE49-F238E27FC236}">
                <a16:creationId xmlns:a16="http://schemas.microsoft.com/office/drawing/2014/main" id="{2A5C9C35-2375-49EB-B99C-17C87D42FE7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4682671"/>
            <a:ext cx="2898948" cy="2175328"/>
            <a:chOff x="-305" y="-1"/>
            <a:chExt cx="3832880" cy="2876136"/>
          </a:xfrm>
        </p:grpSpPr>
        <p:sp>
          <p:nvSpPr>
            <p:cNvPr id="35" name="Freeform: Shape 34">
              <a:extLst>
                <a:ext uri="{FF2B5EF4-FFF2-40B4-BE49-F238E27FC236}">
                  <a16:creationId xmlns:a16="http://schemas.microsoft.com/office/drawing/2014/main" id="{7BE7B8C5-3FC9-47E9-B555-AFCB849A41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Shape 35">
              <a:extLst>
                <a:ext uri="{FF2B5EF4-FFF2-40B4-BE49-F238E27FC236}">
                  <a16:creationId xmlns:a16="http://schemas.microsoft.com/office/drawing/2014/main" id="{615B6EFE-6DC2-4A72-AC12-BCCC3638A6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Shape 36">
              <a:extLst>
                <a:ext uri="{FF2B5EF4-FFF2-40B4-BE49-F238E27FC236}">
                  <a16:creationId xmlns:a16="http://schemas.microsoft.com/office/drawing/2014/main" id="{AE8C1B65-6799-4DD1-B262-01901DA126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Shape 37">
              <a:extLst>
                <a:ext uri="{FF2B5EF4-FFF2-40B4-BE49-F238E27FC236}">
                  <a16:creationId xmlns:a16="http://schemas.microsoft.com/office/drawing/2014/main" id="{03829674-8FAF-4E90-9FB7-C6CE17839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25225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lstStyle/>
          <a:p>
            <a:r>
              <a:rPr lang="da-DK" dirty="0"/>
              <a:t>Definition på vold:</a:t>
            </a:r>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p:txBody>
          <a:bodyPr>
            <a:normAutofit lnSpcReduction="10000"/>
          </a:bodyPr>
          <a:lstStyle/>
          <a:p>
            <a:pPr marL="0" indent="0">
              <a:buNone/>
            </a:pPr>
            <a:r>
              <a:rPr lang="da-DK" sz="1800" b="1" i="0" u="none" strike="noStrike" baseline="0" dirty="0">
                <a:solidFill>
                  <a:srgbClr val="000000"/>
                </a:solidFill>
                <a:latin typeface="Verdana" panose="020B0604030504040204" pitchFamily="34" charset="0"/>
              </a:rPr>
              <a:t>Eksempler på fysisk vold: </a:t>
            </a:r>
          </a:p>
          <a:p>
            <a:pPr marL="0" indent="0">
              <a:buNone/>
            </a:pPr>
            <a:r>
              <a:rPr lang="da-DK" sz="1800" b="0" i="0" u="none" strike="noStrike" baseline="0" dirty="0">
                <a:solidFill>
                  <a:srgbClr val="000000"/>
                </a:solidFill>
                <a:latin typeface="Verdana" panose="020B0604030504040204" pitchFamily="34" charset="0"/>
              </a:rPr>
              <a:t>Angreb mod kroppen i form af overfald, kvælningsforsøg, knivstik, spark, slag, skub, benspænd, fastholdelse, kast med genstande, bid, niv, krads og spyt. </a:t>
            </a:r>
          </a:p>
          <a:p>
            <a:pPr marL="0" indent="0">
              <a:buNone/>
            </a:pPr>
            <a:r>
              <a:rPr lang="da-DK" sz="1800" b="1" i="0" u="none" strike="noStrike" baseline="0" dirty="0">
                <a:solidFill>
                  <a:srgbClr val="000000"/>
                </a:solidFill>
                <a:latin typeface="Verdana" panose="020B0604030504040204" pitchFamily="34" charset="0"/>
              </a:rPr>
              <a:t>Eksempler på psykisk vold: </a:t>
            </a:r>
          </a:p>
          <a:p>
            <a:pPr marL="0" indent="0" algn="l">
              <a:buNone/>
            </a:pPr>
            <a:r>
              <a:rPr lang="da-DK" sz="1800" b="0" i="0" u="none" strike="noStrike" baseline="0" dirty="0">
                <a:solidFill>
                  <a:srgbClr val="000000"/>
                </a:solidFill>
                <a:latin typeface="Verdana" panose="020B0604030504040204" pitchFamily="34" charset="0"/>
              </a:rPr>
              <a:t>Trusler, der fremsættes over for medarbejdere, fx mundtlige trusler mod medarbejdernes sikkerhed, herunder trusler på livet, trusler om fysisk hærværk mod arbejdspladsen eller trusler mod medarbejdernes familie, venner eller andre nærtstående personer eller medarbejdernes ejendele. Eksempler på mundtlige trusler kan være ”Jeg ved, hvor du bor” eller ”Jeg ved, hvor dine børn går i skole”. Trusler kan også udtrykkes uden ord, fx med knyttede næver, bevægelse af en finger hen over halsen eller med tegninger. </a:t>
            </a:r>
          </a:p>
          <a:p>
            <a:pPr marL="0" indent="0">
              <a:buNone/>
            </a:pPr>
            <a:r>
              <a:rPr lang="da-DK" sz="1800" b="0" i="0" u="none" strike="noStrike" baseline="0" dirty="0">
                <a:solidFill>
                  <a:srgbClr val="000000"/>
                </a:solidFill>
                <a:latin typeface="Verdana" panose="020B0604030504040204" pitchFamily="34" charset="0"/>
              </a:rPr>
              <a:t>Anden krænkende adfærd kan fx være chikane, ydmygelser, nedværdigende behandling, seksuel chikane (sexchikane), sårende bemærkninger, latterliggørelse, ubehagelige drillerier og trusler. </a:t>
            </a:r>
          </a:p>
          <a:p>
            <a:pPr marL="0" indent="0">
              <a:buNone/>
            </a:pPr>
            <a:r>
              <a:rPr lang="da-DK" sz="1800" b="0" i="0" u="none" strike="noStrike" baseline="0" dirty="0">
                <a:solidFill>
                  <a:srgbClr val="000000"/>
                </a:solidFill>
                <a:latin typeface="Verdana" panose="020B0604030504040204" pitchFamily="34" charset="0"/>
              </a:rPr>
              <a:t>Krænkende adfærd kan komme til udtryk på mange forskellige måder og det kan både være enkeltstående hændelser og gentagne episoder. </a:t>
            </a:r>
          </a:p>
          <a:p>
            <a:endParaRPr lang="da-DK" sz="1800" b="0" i="0" u="none" strike="noStrike" baseline="0" dirty="0">
              <a:solidFill>
                <a:srgbClr val="000000"/>
              </a:solidFill>
              <a:latin typeface="Verdana" panose="020B0604030504040204" pitchFamily="34" charset="0"/>
            </a:endParaRPr>
          </a:p>
          <a:p>
            <a:endParaRPr lang="da-DK" dirty="0"/>
          </a:p>
        </p:txBody>
      </p:sp>
    </p:spTree>
    <p:extLst>
      <p:ext uri="{BB962C8B-B14F-4D97-AF65-F5344CB8AC3E}">
        <p14:creationId xmlns:p14="http://schemas.microsoft.com/office/powerpoint/2010/main" val="32353033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038248A-211C-4EEC-8401-C761B929FB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30A849F-66D9-40C8-BEC8-35AFF8F45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a:xfrm>
            <a:off x="1179226" y="1280679"/>
            <a:ext cx="9833548" cy="1325563"/>
          </a:xfrm>
        </p:spPr>
        <p:txBody>
          <a:bodyPr anchor="b">
            <a:normAutofit/>
          </a:bodyPr>
          <a:lstStyle/>
          <a:p>
            <a:pPr algn="ctr"/>
            <a:r>
              <a:rPr lang="da-DK" sz="3600">
                <a:solidFill>
                  <a:schemeClr val="tx2"/>
                </a:solidFill>
              </a:rPr>
              <a:t>Definition på vold:</a:t>
            </a:r>
          </a:p>
        </p:txBody>
      </p:sp>
      <p:grpSp>
        <p:nvGrpSpPr>
          <p:cNvPr id="12" name="Group 11">
            <a:extLst>
              <a:ext uri="{FF2B5EF4-FFF2-40B4-BE49-F238E27FC236}">
                <a16:creationId xmlns:a16="http://schemas.microsoft.com/office/drawing/2014/main" id="{04542298-A2B1-480F-A11C-A40EDD19B8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89890" y="0"/>
            <a:ext cx="3902110" cy="2382977"/>
            <a:chOff x="6867015" y="-1"/>
            <a:chExt cx="5324985" cy="3251912"/>
          </a:xfrm>
          <a:solidFill>
            <a:schemeClr val="accent5">
              <a:alpha val="10000"/>
            </a:schemeClr>
          </a:solidFill>
        </p:grpSpPr>
        <p:sp>
          <p:nvSpPr>
            <p:cNvPr id="13" name="Freeform: Shape 12">
              <a:extLst>
                <a:ext uri="{FF2B5EF4-FFF2-40B4-BE49-F238E27FC236}">
                  <a16:creationId xmlns:a16="http://schemas.microsoft.com/office/drawing/2014/main" id="{74AEB45E-B965-46A0-8557-C646B5011B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921A22C7-11AD-44B0-9BF7-6E3A45821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87049D82-B7F3-4192-8337-4BDB16955E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24A7FAD9-577C-4D2E-A3B5-C6D0A39D47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1179226" y="2890979"/>
            <a:ext cx="9833548" cy="2693976"/>
          </a:xfrm>
        </p:spPr>
        <p:txBody>
          <a:bodyPr>
            <a:normAutofit/>
          </a:bodyPr>
          <a:lstStyle/>
          <a:p>
            <a:r>
              <a:rPr lang="da-DK" sz="1800" b="0" i="0" u="none" strike="noStrike" baseline="0">
                <a:solidFill>
                  <a:schemeClr val="tx2"/>
                </a:solidFill>
                <a:latin typeface="Verdana" panose="020B0604030504040204" pitchFamily="34" charset="0"/>
              </a:rPr>
              <a:t>Arbejdsrelaterede voldsepisoder betragtes som arbejdsulykker. </a:t>
            </a:r>
          </a:p>
          <a:p>
            <a:r>
              <a:rPr lang="da-DK" sz="1800" b="0" i="0" u="none" strike="noStrike" baseline="0">
                <a:solidFill>
                  <a:schemeClr val="tx2"/>
                </a:solidFill>
                <a:latin typeface="Verdana" panose="020B0604030504040204" pitchFamily="34" charset="0"/>
              </a:rPr>
              <a:t>Enhver episode hvor en medarbejder ansat i Frederiksberg Kommune </a:t>
            </a:r>
            <a:r>
              <a:rPr lang="da-DK" sz="1800" b="1" i="0" u="none" strike="noStrike" baseline="0">
                <a:solidFill>
                  <a:schemeClr val="tx2"/>
                </a:solidFill>
                <a:latin typeface="Verdana" panose="020B0604030504040204" pitchFamily="34" charset="0"/>
              </a:rPr>
              <a:t>oplever</a:t>
            </a:r>
            <a:r>
              <a:rPr lang="da-DK" sz="1800" b="0" i="0" u="none" strike="noStrike" baseline="0">
                <a:solidFill>
                  <a:schemeClr val="tx2"/>
                </a:solidFill>
                <a:latin typeface="Verdana" panose="020B0604030504040204" pitchFamily="34" charset="0"/>
              </a:rPr>
              <a:t> sig udsat for vold, er pr definition vold, og skal håndteres derefter. </a:t>
            </a:r>
          </a:p>
          <a:p>
            <a:r>
              <a:rPr lang="da-DK" sz="1800" b="1" i="0" u="none" strike="noStrike" baseline="0">
                <a:solidFill>
                  <a:schemeClr val="tx2"/>
                </a:solidFill>
                <a:latin typeface="Verdana" panose="020B0604030504040204" pitchFamily="34" charset="0"/>
              </a:rPr>
              <a:t>Alle arbejdspladser med borgerkontakt skal udarbejde forebyggende handleplaner</a:t>
            </a:r>
            <a:r>
              <a:rPr lang="da-DK" sz="1800" b="0" i="0" u="none" strike="noStrike" baseline="0">
                <a:solidFill>
                  <a:schemeClr val="tx2"/>
                </a:solidFill>
                <a:latin typeface="Verdana" panose="020B0604030504040204" pitchFamily="34" charset="0"/>
              </a:rPr>
              <a:t> for arbejdsrelateret vold, trusler og krænkende handlinger. </a:t>
            </a:r>
          </a:p>
          <a:p>
            <a:r>
              <a:rPr lang="da-DK" sz="1800" b="0" i="0" u="none" strike="noStrike" baseline="0">
                <a:solidFill>
                  <a:schemeClr val="tx2"/>
                </a:solidFill>
                <a:latin typeface="Verdana" panose="020B0604030504040204" pitchFamily="34" charset="0"/>
              </a:rPr>
              <a:t>Vold i straffelovens betydning, skal desuden politianmeldes som vold </a:t>
            </a:r>
            <a:endParaRPr lang="da-DK" sz="1800">
              <a:solidFill>
                <a:schemeClr val="tx2"/>
              </a:solidFill>
            </a:endParaRPr>
          </a:p>
        </p:txBody>
      </p:sp>
      <p:grpSp>
        <p:nvGrpSpPr>
          <p:cNvPr id="18" name="Group 17">
            <a:extLst>
              <a:ext uri="{FF2B5EF4-FFF2-40B4-BE49-F238E27FC236}">
                <a16:creationId xmlns:a16="http://schemas.microsoft.com/office/drawing/2014/main" id="{2A5C9C35-2375-49EB-B99C-17C87D42FE7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4682671"/>
            <a:ext cx="2898948" cy="2175328"/>
            <a:chOff x="-305" y="-1"/>
            <a:chExt cx="3832880" cy="2876136"/>
          </a:xfrm>
        </p:grpSpPr>
        <p:sp>
          <p:nvSpPr>
            <p:cNvPr id="19" name="Freeform: Shape 18">
              <a:extLst>
                <a:ext uri="{FF2B5EF4-FFF2-40B4-BE49-F238E27FC236}">
                  <a16:creationId xmlns:a16="http://schemas.microsoft.com/office/drawing/2014/main" id="{7BE7B8C5-3FC9-47E9-B555-AFCB849A41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615B6EFE-6DC2-4A72-AC12-BCCC3638A6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AE8C1B65-6799-4DD1-B262-01901DA126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03829674-8FAF-4E90-9FB7-C6CE17839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08154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FD9576A4-4C91-EC4C-05CA-E45F3F13E4B0}"/>
              </a:ext>
            </a:extLst>
          </p:cNvPr>
          <p:cNvSpPr>
            <a:spLocks noGrp="1"/>
          </p:cNvSpPr>
          <p:nvPr>
            <p:ph type="ctrTitle"/>
          </p:nvPr>
        </p:nvSpPr>
        <p:spPr>
          <a:xfrm>
            <a:off x="1314824" y="735106"/>
            <a:ext cx="10053763" cy="2928470"/>
          </a:xfrm>
        </p:spPr>
        <p:txBody>
          <a:bodyPr anchor="b">
            <a:normAutofit/>
          </a:bodyPr>
          <a:lstStyle/>
          <a:p>
            <a:pPr algn="l"/>
            <a:r>
              <a:rPr lang="da-DK" sz="4800">
                <a:solidFill>
                  <a:srgbClr val="FFFFFF"/>
                </a:solidFill>
              </a:rPr>
              <a:t>Korte Meddelelser</a:t>
            </a:r>
          </a:p>
        </p:txBody>
      </p:sp>
      <p:sp>
        <p:nvSpPr>
          <p:cNvPr id="3" name="Undertitel 2">
            <a:extLst>
              <a:ext uri="{FF2B5EF4-FFF2-40B4-BE49-F238E27FC236}">
                <a16:creationId xmlns:a16="http://schemas.microsoft.com/office/drawing/2014/main" id="{333FE56A-BEB1-0060-EE05-D517F4C4558E}"/>
              </a:ext>
            </a:extLst>
          </p:cNvPr>
          <p:cNvSpPr>
            <a:spLocks noGrp="1"/>
          </p:cNvSpPr>
          <p:nvPr>
            <p:ph type="subTitle" idx="1"/>
          </p:nvPr>
        </p:nvSpPr>
        <p:spPr>
          <a:xfrm>
            <a:off x="1350682" y="4870824"/>
            <a:ext cx="10005951" cy="1458258"/>
          </a:xfrm>
        </p:spPr>
        <p:txBody>
          <a:bodyPr anchor="ctr">
            <a:normAutofit/>
          </a:bodyPr>
          <a:lstStyle/>
          <a:p>
            <a:pPr algn="l"/>
            <a:endParaRPr lang="da-DK" dirty="0"/>
          </a:p>
        </p:txBody>
      </p:sp>
    </p:spTree>
    <p:extLst>
      <p:ext uri="{BB962C8B-B14F-4D97-AF65-F5344CB8AC3E}">
        <p14:creationId xmlns:p14="http://schemas.microsoft.com/office/powerpoint/2010/main" val="521653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1000"/>
                                  </p:stCondLst>
                                  <p:endCondLst>
                                    <p:cond evt="begin" delay="0">
                                      <p:tn val="5"/>
                                    </p:cond>
                                  </p:endCondLst>
                                  <p:iterate type="wd">
                                    <p:tmPct val="15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par>
                                <p:cTn id="8" presetID="10" presetClass="entr" presetSubtype="0" fill="hold" grpId="0" nodeType="withEffect">
                                  <p:stCondLst>
                                    <p:cond delay="500"/>
                                  </p:stCondLst>
                                  <p:iterate type="wd">
                                    <p:tmPct val="15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normAutofit/>
          </a:bodyPr>
          <a:lstStyle/>
          <a:p>
            <a:r>
              <a:rPr lang="da-DK" sz="2400" b="1" i="0" u="none" strike="noStrike" baseline="0" dirty="0">
                <a:solidFill>
                  <a:srgbClr val="000000"/>
                </a:solidFill>
                <a:latin typeface="Verdana" panose="020B0604030504040204" pitchFamily="34" charset="0"/>
              </a:rPr>
              <a:t>Forebyggelse af arbejdsrelateret vold, trusler og krænkende handlinger </a:t>
            </a:r>
            <a:endParaRPr lang="da-DK" sz="2400"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p:txBody>
          <a:bodyPr>
            <a:normAutofit lnSpcReduction="10000"/>
          </a:bodyPr>
          <a:lstStyle/>
          <a:p>
            <a:pPr marL="0" indent="0">
              <a:buNone/>
            </a:pPr>
            <a:r>
              <a:rPr lang="da-DK" sz="1800" b="0" i="0" u="none" strike="noStrike" baseline="0" dirty="0">
                <a:solidFill>
                  <a:srgbClr val="000000"/>
                </a:solidFill>
                <a:latin typeface="Verdana" panose="020B0604030504040204" pitchFamily="34" charset="0"/>
              </a:rPr>
              <a:t>Forebyggelse af arbejdsrelateret vold, trusler og krænkende handlinger afhænger af forholdene på den enkelte arbejdsplads. En række forhold kan have en forebyggende effekt. Det er blandt andet af betydning: </a:t>
            </a:r>
          </a:p>
          <a:p>
            <a:pPr marL="0" indent="0">
              <a:buNone/>
            </a:pPr>
            <a:r>
              <a:rPr lang="da-DK" sz="1800" b="0" i="0" u="none" strike="noStrike" baseline="0" dirty="0">
                <a:solidFill>
                  <a:srgbClr val="000000"/>
                </a:solidFill>
                <a:latin typeface="Verdana" panose="020B0604030504040204" pitchFamily="34" charset="0"/>
              </a:rPr>
              <a:t>• At arbejdspladskulturen er præget af åbenhed, interesse i kollegers ve og vel samt en fælles holdning til arbejdsrelateret vold, trusler og krænkende handlinger </a:t>
            </a:r>
          </a:p>
          <a:p>
            <a:pPr marL="0" indent="0">
              <a:buNone/>
            </a:pPr>
            <a:r>
              <a:rPr lang="da-DK" sz="1800" b="0" i="0" u="none" strike="noStrike" baseline="0" dirty="0">
                <a:solidFill>
                  <a:srgbClr val="000000"/>
                </a:solidFill>
                <a:latin typeface="Verdana" panose="020B0604030504040204" pitchFamily="34" charset="0"/>
              </a:rPr>
              <a:t>• At de fysiske rammer er rolige og venlige og er med til at skabe en god atmosfære </a:t>
            </a:r>
          </a:p>
          <a:p>
            <a:pPr marL="0" indent="0">
              <a:buNone/>
            </a:pPr>
            <a:r>
              <a:rPr lang="da-DK" sz="1800" b="0" i="0" u="none" strike="noStrike" baseline="0" dirty="0">
                <a:solidFill>
                  <a:srgbClr val="000000"/>
                </a:solidFill>
                <a:latin typeface="Verdana" panose="020B0604030504040204" pitchFamily="34" charset="0"/>
              </a:rPr>
              <a:t>• At medarbejderne er rustet til at kunne samarbejde med en bruger </a:t>
            </a:r>
          </a:p>
          <a:p>
            <a:pPr marL="0" indent="0">
              <a:buNone/>
            </a:pPr>
            <a:r>
              <a:rPr lang="da-DK" sz="1800" b="0" i="0" u="none" strike="noStrike" baseline="0" dirty="0">
                <a:solidFill>
                  <a:srgbClr val="000000"/>
                </a:solidFill>
                <a:latin typeface="Verdana" panose="020B0604030504040204" pitchFamily="34" charset="0"/>
              </a:rPr>
              <a:t>• At ledelsen har truffet de nødvendige sikkerhedsmæssige foranstaltninger for at beskytte medarbejderne, herunder indretning og mulighed for flugt i tilfælde af en episode </a:t>
            </a:r>
          </a:p>
          <a:p>
            <a:pPr marL="0" indent="0">
              <a:buNone/>
            </a:pPr>
            <a:r>
              <a:rPr lang="da-DK" sz="1800" b="0" i="0" u="none" strike="noStrike" baseline="0" dirty="0">
                <a:solidFill>
                  <a:srgbClr val="000000"/>
                </a:solidFill>
                <a:latin typeface="Verdana" panose="020B0604030504040204" pitchFamily="34" charset="0"/>
              </a:rPr>
              <a:t>• At medarbejderne får viden og indsigt til at kunne håndtere truende adfærd – ansatte der har kontakt med borgere kan f.eks. tilbydes kurser, hvor de lærer at håndtere vanskelige situationer </a:t>
            </a:r>
          </a:p>
          <a:p>
            <a:pPr marL="0" indent="0">
              <a:buNone/>
            </a:pPr>
            <a:r>
              <a:rPr lang="da-DK" sz="1800" b="0" i="0" u="none" strike="noStrike" baseline="0" dirty="0">
                <a:solidFill>
                  <a:srgbClr val="000000"/>
                </a:solidFill>
                <a:latin typeface="Verdana" panose="020B0604030504040204" pitchFamily="34" charset="0"/>
              </a:rPr>
              <a:t>• At ledelse og medarbejdere har viden til på en hensigtsmæssig måde at støtte en kollega, der har været udsat for en episode </a:t>
            </a:r>
            <a:endParaRPr lang="da-DK" dirty="0"/>
          </a:p>
        </p:txBody>
      </p:sp>
    </p:spTree>
    <p:extLst>
      <p:ext uri="{BB962C8B-B14F-4D97-AF65-F5344CB8AC3E}">
        <p14:creationId xmlns:p14="http://schemas.microsoft.com/office/powerpoint/2010/main" val="21170858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normAutofit/>
          </a:bodyPr>
          <a:lstStyle/>
          <a:p>
            <a:r>
              <a:rPr lang="da-DK" sz="2000" b="1" i="0" u="none" strike="noStrike" baseline="0" dirty="0">
                <a:solidFill>
                  <a:srgbClr val="000000"/>
                </a:solidFill>
                <a:latin typeface="Verdana" panose="020B0604030504040204" pitchFamily="34" charset="0"/>
              </a:rPr>
              <a:t>Håndtering af arbejdsrelateret vold, trusler og krænkende handlinger </a:t>
            </a:r>
            <a:endParaRPr lang="da-DK" sz="2000"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838200" y="1328468"/>
            <a:ext cx="10515600" cy="5164407"/>
          </a:xfrm>
        </p:spPr>
        <p:txBody>
          <a:bodyPr>
            <a:normAutofit fontScale="55000" lnSpcReduction="20000"/>
          </a:bodyPr>
          <a:lstStyle/>
          <a:p>
            <a:pPr marL="0" indent="0">
              <a:buNone/>
            </a:pPr>
            <a:r>
              <a:rPr lang="da-DK" sz="2500" b="0" i="0" u="none" strike="noStrike" baseline="0" dirty="0">
                <a:solidFill>
                  <a:srgbClr val="000000"/>
                </a:solidFill>
              </a:rPr>
              <a:t>Kollegial førstehjælp i form af øjeblikkelig omsorg for den voldsramte er vigtig. Det kan f.eks. dreje sig om: </a:t>
            </a:r>
          </a:p>
          <a:p>
            <a:pPr marL="0" indent="0">
              <a:buNone/>
            </a:pPr>
            <a:r>
              <a:rPr lang="da-DK" sz="2500" b="0" i="0" u="none" strike="noStrike" baseline="0" dirty="0">
                <a:solidFill>
                  <a:srgbClr val="000000"/>
                </a:solidFill>
              </a:rPr>
              <a:t>• Stop en aktuel voldshandling </a:t>
            </a:r>
          </a:p>
          <a:p>
            <a:pPr marL="0" indent="0">
              <a:buNone/>
            </a:pPr>
            <a:r>
              <a:rPr lang="da-DK" sz="2500" b="0" i="0" u="none" strike="noStrike" baseline="0" dirty="0">
                <a:solidFill>
                  <a:srgbClr val="000000"/>
                </a:solidFill>
              </a:rPr>
              <a:t>• Anvend kollegial førstehjælp </a:t>
            </a:r>
          </a:p>
          <a:p>
            <a:pPr marL="0" indent="0">
              <a:buNone/>
            </a:pPr>
            <a:r>
              <a:rPr lang="da-DK" sz="2500" b="0" i="0" u="none" strike="noStrike" baseline="0" dirty="0">
                <a:solidFill>
                  <a:srgbClr val="000000"/>
                </a:solidFill>
              </a:rPr>
              <a:t>• Efter episoden:</a:t>
            </a:r>
          </a:p>
          <a:p>
            <a:pPr marL="0" indent="0">
              <a:buNone/>
            </a:pPr>
            <a:r>
              <a:rPr lang="da-DK" sz="2500" dirty="0">
                <a:solidFill>
                  <a:srgbClr val="000000"/>
                </a:solidFill>
              </a:rPr>
              <a:t>	</a:t>
            </a:r>
            <a:r>
              <a:rPr lang="da-DK" sz="2500" b="0" i="0" u="none" strike="noStrike" baseline="0" dirty="0">
                <a:solidFill>
                  <a:srgbClr val="000000"/>
                </a:solidFill>
              </a:rPr>
              <a:t>Ikke at lade din kollega være alene </a:t>
            </a:r>
          </a:p>
          <a:p>
            <a:pPr marL="0" indent="0">
              <a:buNone/>
            </a:pPr>
            <a:r>
              <a:rPr lang="da-DK" sz="2500" b="0" i="0" u="none" strike="noStrike" baseline="0" dirty="0">
                <a:solidFill>
                  <a:srgbClr val="000000"/>
                </a:solidFill>
              </a:rPr>
              <a:t>	At skabe tryghed, men undgå omklamring </a:t>
            </a:r>
          </a:p>
          <a:p>
            <a:pPr marL="0" indent="0">
              <a:buNone/>
            </a:pPr>
            <a:r>
              <a:rPr lang="da-DK" sz="2500" dirty="0">
                <a:solidFill>
                  <a:srgbClr val="000000"/>
                </a:solidFill>
              </a:rPr>
              <a:t>	</a:t>
            </a:r>
            <a:r>
              <a:rPr lang="da-DK" sz="2500" b="0" i="0" u="none" strike="noStrike" baseline="0" dirty="0">
                <a:solidFill>
                  <a:srgbClr val="000000"/>
                </a:solidFill>
              </a:rPr>
              <a:t>At lade din kollega tale om, hvad der er sket, men pres ikke på </a:t>
            </a:r>
          </a:p>
          <a:p>
            <a:pPr marL="0" indent="0">
              <a:buNone/>
            </a:pPr>
            <a:r>
              <a:rPr lang="da-DK" sz="2500" b="0" i="0" u="none" strike="noStrike" baseline="0" dirty="0">
                <a:solidFill>
                  <a:srgbClr val="000000"/>
                </a:solidFill>
              </a:rPr>
              <a:t>	At undgå at bagatellisere episoden, undgå at kritisere og fortæl ikke selv anekdoter fra lignende situationer </a:t>
            </a:r>
          </a:p>
          <a:p>
            <a:pPr marL="0" indent="0">
              <a:buNone/>
            </a:pPr>
            <a:r>
              <a:rPr lang="da-DK" sz="2500" dirty="0">
                <a:solidFill>
                  <a:srgbClr val="000000"/>
                </a:solidFill>
              </a:rPr>
              <a:t>	</a:t>
            </a:r>
            <a:r>
              <a:rPr lang="da-DK" sz="2500" b="0" i="0" u="none" strike="noStrike" baseline="0" dirty="0">
                <a:solidFill>
                  <a:srgbClr val="000000"/>
                </a:solidFill>
              </a:rPr>
              <a:t>At være opmærksom på, at din kollega kan reagere anderledes end sædvanlig i dagene efter episoden </a:t>
            </a:r>
          </a:p>
          <a:p>
            <a:pPr marL="0" indent="0">
              <a:buNone/>
            </a:pPr>
            <a:r>
              <a:rPr lang="da-DK" sz="2500" dirty="0">
                <a:solidFill>
                  <a:srgbClr val="000000"/>
                </a:solidFill>
              </a:rPr>
              <a:t>	</a:t>
            </a:r>
            <a:r>
              <a:rPr lang="da-DK" sz="2500" b="0" i="0" u="none" strike="noStrike" baseline="0" dirty="0">
                <a:solidFill>
                  <a:srgbClr val="000000"/>
                </a:solidFill>
              </a:rPr>
              <a:t>At sørge for at din kollega heller ikke er alene derhjemme </a:t>
            </a:r>
          </a:p>
          <a:p>
            <a:pPr marL="0" indent="0">
              <a:buNone/>
            </a:pPr>
            <a:r>
              <a:rPr lang="da-DK" sz="2500" dirty="0">
                <a:solidFill>
                  <a:srgbClr val="000000"/>
                </a:solidFill>
              </a:rPr>
              <a:t>	</a:t>
            </a:r>
            <a:r>
              <a:rPr lang="da-DK" sz="2500" b="0" i="0" u="none" strike="noStrike" baseline="0" dirty="0">
                <a:solidFill>
                  <a:srgbClr val="000000"/>
                </a:solidFill>
              </a:rPr>
              <a:t>At hjælpe med evt. at kontakte din kollegas pårørende </a:t>
            </a:r>
          </a:p>
          <a:p>
            <a:pPr marL="0" indent="0">
              <a:buNone/>
            </a:pPr>
            <a:r>
              <a:rPr lang="da-DK" sz="2500" dirty="0">
                <a:solidFill>
                  <a:srgbClr val="000000"/>
                </a:solidFill>
              </a:rPr>
              <a:t>	</a:t>
            </a:r>
            <a:r>
              <a:rPr lang="da-DK" sz="2500" b="0" i="0" u="none" strike="noStrike" baseline="0" dirty="0">
                <a:solidFill>
                  <a:srgbClr val="000000"/>
                </a:solidFill>
              </a:rPr>
              <a:t>At give din kollega folderen ”Din ven/familiemedlem har været udsat for en voldelig episode” med hjem. Den indeholder både 	gode råd til den ramte og de pårørende: Din pårørende har været udsat for vold </a:t>
            </a:r>
          </a:p>
          <a:p>
            <a:pPr marL="0" indent="0">
              <a:buNone/>
            </a:pPr>
            <a:r>
              <a:rPr lang="da-DK" sz="2500" dirty="0">
                <a:solidFill>
                  <a:srgbClr val="000000"/>
                </a:solidFill>
              </a:rPr>
              <a:t>	</a:t>
            </a:r>
            <a:r>
              <a:rPr lang="da-DK" sz="2500" b="0" i="0" u="none" strike="noStrike" baseline="0" dirty="0">
                <a:solidFill>
                  <a:srgbClr val="000000"/>
                </a:solidFill>
              </a:rPr>
              <a:t>Professionel psykisk hjælp i form af krisesamtaler med en psykolog fra det rådgivningscenter, som Frederiksberg Kommune har 	aftale med </a:t>
            </a:r>
          </a:p>
          <a:p>
            <a:endParaRPr lang="da-DK" sz="2500" b="0" i="0" u="none" strike="noStrike" baseline="0" dirty="0">
              <a:solidFill>
                <a:srgbClr val="000000"/>
              </a:solidFill>
            </a:endParaRPr>
          </a:p>
          <a:p>
            <a:pPr marL="0" indent="0">
              <a:buNone/>
            </a:pPr>
            <a:r>
              <a:rPr lang="da-DK" sz="2500" b="0" i="0" u="none" strike="noStrike" baseline="0" dirty="0">
                <a:solidFill>
                  <a:srgbClr val="000000"/>
                </a:solidFill>
              </a:rPr>
              <a:t>Ledelsen anmelder voldsepisoden </a:t>
            </a:r>
          </a:p>
          <a:p>
            <a:pPr marL="0" indent="0">
              <a:buNone/>
            </a:pPr>
            <a:r>
              <a:rPr lang="da-DK" sz="2500" b="0" i="0" u="none" strike="noStrike" baseline="0" dirty="0">
                <a:solidFill>
                  <a:srgbClr val="000000"/>
                </a:solidFill>
              </a:rPr>
              <a:t>Ledelsen sikrer opfølgning så alle medarbejdere håndteres professionelt og der skabes læring af situationen </a:t>
            </a:r>
          </a:p>
          <a:p>
            <a:pPr marL="0" indent="0">
              <a:buNone/>
            </a:pPr>
            <a:r>
              <a:rPr lang="da-DK" sz="2500" b="0" i="0" u="none" strike="noStrike" baseline="0" dirty="0">
                <a:solidFill>
                  <a:srgbClr val="000000"/>
                </a:solidFill>
              </a:rPr>
              <a:t>Sikre den nødvendige hjælp til kollegaer/ledelse </a:t>
            </a:r>
          </a:p>
          <a:p>
            <a:pPr marL="0" indent="0">
              <a:buNone/>
            </a:pPr>
            <a:endParaRPr lang="da-DK" dirty="0"/>
          </a:p>
        </p:txBody>
      </p:sp>
    </p:spTree>
    <p:extLst>
      <p:ext uri="{BB962C8B-B14F-4D97-AF65-F5344CB8AC3E}">
        <p14:creationId xmlns:p14="http://schemas.microsoft.com/office/powerpoint/2010/main" val="40239164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lstStyle/>
          <a:p>
            <a:r>
              <a:rPr lang="da-DK" sz="1800" b="1" i="0" u="none" strike="noStrike" baseline="0" dirty="0">
                <a:solidFill>
                  <a:srgbClr val="000000"/>
                </a:solidFill>
                <a:latin typeface="Verdana" panose="020B0604030504040204" pitchFamily="34" charset="0"/>
              </a:rPr>
              <a:t>Vold og trusler i fritiden </a:t>
            </a:r>
            <a:endParaRPr lang="da-DK"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838200" y="1328468"/>
            <a:ext cx="10515600" cy="5164407"/>
          </a:xfrm>
        </p:spPr>
        <p:txBody>
          <a:bodyPr>
            <a:normAutofit/>
          </a:bodyPr>
          <a:lstStyle/>
          <a:p>
            <a:pPr marL="0" indent="0">
              <a:buNone/>
            </a:pPr>
            <a:r>
              <a:rPr lang="da-DK" sz="1800" b="0" i="0" u="none" strike="noStrike" baseline="0" dirty="0">
                <a:solidFill>
                  <a:srgbClr val="000000"/>
                </a:solidFill>
                <a:latin typeface="Verdana" panose="020B0604030504040204" pitchFamily="34" charset="0"/>
              </a:rPr>
              <a:t>Fra 1. januar 2016 har arbejdspladserne pligt til at arbejde med risikoen for arbejdsrelateret vold, der kan ramme medarbejderne i fritiden. Hver lokale arbejdsplads (institution/afdeling) skal derfor overveje om det er relevant at udarbejde en lokal handleplan, der kan imødegå arbejdsrelateret vold uden for arbejdstiden </a:t>
            </a:r>
          </a:p>
          <a:p>
            <a:pPr marL="0" indent="0">
              <a:buNone/>
            </a:pPr>
            <a:r>
              <a:rPr lang="da-DK" sz="1800" b="0" i="0" u="none" strike="noStrike" baseline="0" dirty="0">
                <a:solidFill>
                  <a:srgbClr val="000000"/>
                </a:solidFill>
                <a:latin typeface="Verdana" panose="020B0604030504040204" pitchFamily="34" charset="0"/>
              </a:rPr>
              <a:t>I givet fald skal den lokale handleplan indeholde svar på: </a:t>
            </a:r>
          </a:p>
          <a:p>
            <a:pPr marL="0" indent="0">
              <a:buNone/>
            </a:pPr>
            <a:r>
              <a:rPr lang="da-DK" sz="1800" b="0" i="0" u="none" strike="noStrike" baseline="0" dirty="0">
                <a:solidFill>
                  <a:srgbClr val="000000"/>
                </a:solidFill>
                <a:latin typeface="Verdana" panose="020B0604030504040204" pitchFamily="34" charset="0"/>
              </a:rPr>
              <a:t>• Hvilken slags arbejdsrelateret vold kan en medarbejder møde i sin fritid </a:t>
            </a:r>
          </a:p>
          <a:p>
            <a:pPr marL="0" indent="0">
              <a:buNone/>
            </a:pPr>
            <a:r>
              <a:rPr lang="da-DK" sz="1800" b="0" i="0" u="none" strike="noStrike" baseline="0" dirty="0">
                <a:solidFill>
                  <a:srgbClr val="000000"/>
                </a:solidFill>
                <a:latin typeface="Verdana" panose="020B0604030504040204" pitchFamily="34" charset="0"/>
              </a:rPr>
              <a:t>• Hvordan klædes medarbejderne på til tilfældige møder med borgere og pårørende </a:t>
            </a:r>
          </a:p>
          <a:p>
            <a:pPr marL="0" indent="0">
              <a:buNone/>
            </a:pPr>
            <a:r>
              <a:rPr lang="da-DK" sz="1800" b="0" i="0" u="none" strike="noStrike" baseline="0" dirty="0">
                <a:solidFill>
                  <a:srgbClr val="000000"/>
                </a:solidFill>
                <a:latin typeface="Verdana" panose="020B0604030504040204" pitchFamily="34" charset="0"/>
              </a:rPr>
              <a:t>• Hvordan forebygges arbejdsrelateret vold i fritiden </a:t>
            </a:r>
          </a:p>
          <a:p>
            <a:pPr marL="0" indent="0">
              <a:buNone/>
            </a:pPr>
            <a:r>
              <a:rPr lang="da-DK" sz="1800" b="0" i="0" u="none" strike="noStrike" baseline="0" dirty="0">
                <a:solidFill>
                  <a:srgbClr val="000000"/>
                </a:solidFill>
                <a:latin typeface="Verdana" panose="020B0604030504040204" pitchFamily="34" charset="0"/>
              </a:rPr>
              <a:t>• Hvordan skal medarbejderen reagere ved arbejdsrelateret vold i fritiden </a:t>
            </a:r>
          </a:p>
          <a:p>
            <a:pPr marL="0" indent="0">
              <a:buNone/>
            </a:pPr>
            <a:r>
              <a:rPr lang="da-DK" b="1" dirty="0"/>
              <a:t>Anmeldelse af vold og trusler om vold</a:t>
            </a:r>
          </a:p>
          <a:p>
            <a:pPr marL="0" indent="0">
              <a:buNone/>
            </a:pPr>
            <a:r>
              <a:rPr lang="da-DK" sz="2400" dirty="0"/>
              <a:t>Alle voldsepisoder rettet mod medarbejdere i Frederiksberg Kommune, og som ikke er omfattet af dispensationsmulighederne, skal politianmeldes, og det er altid ledelsen der anmelder.</a:t>
            </a:r>
          </a:p>
        </p:txBody>
      </p:sp>
    </p:spTree>
    <p:extLst>
      <p:ext uri="{BB962C8B-B14F-4D97-AF65-F5344CB8AC3E}">
        <p14:creationId xmlns:p14="http://schemas.microsoft.com/office/powerpoint/2010/main" val="35041541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lstStyle/>
          <a:p>
            <a:r>
              <a:rPr lang="da-DK" sz="1800" b="1" i="0" u="none" strike="noStrike" baseline="0" dirty="0">
                <a:solidFill>
                  <a:srgbClr val="000000"/>
                </a:solidFill>
                <a:latin typeface="Verdana" panose="020B0604030504040204" pitchFamily="34" charset="0"/>
              </a:rPr>
              <a:t>Dispensation i forhold til politianmeldelse af vold på arbejdspladsen </a:t>
            </a:r>
            <a:endParaRPr lang="da-DK"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838200" y="1328468"/>
            <a:ext cx="10515600" cy="5164407"/>
          </a:xfrm>
        </p:spPr>
        <p:txBody>
          <a:bodyPr>
            <a:normAutofit fontScale="85000" lnSpcReduction="20000"/>
          </a:bodyPr>
          <a:lstStyle/>
          <a:p>
            <a:pPr marL="0" indent="0">
              <a:buNone/>
            </a:pPr>
            <a:r>
              <a:rPr lang="da-DK" sz="1800" b="0" i="0" u="none" strike="noStrike" baseline="0" dirty="0">
                <a:solidFill>
                  <a:srgbClr val="000000"/>
                </a:solidFill>
                <a:latin typeface="Verdana" panose="020B0604030504040204" pitchFamily="34" charset="0"/>
              </a:rPr>
              <a:t>Nævnet kan navnlig fravige kravet om anmeldelse i følgende situationer: </a:t>
            </a:r>
          </a:p>
          <a:p>
            <a:pPr marL="0" indent="0">
              <a:buNone/>
            </a:pPr>
            <a:r>
              <a:rPr lang="da-DK" sz="1800" b="0" i="0" u="none" strike="noStrike" baseline="0" dirty="0">
                <a:solidFill>
                  <a:srgbClr val="000000"/>
                </a:solidFill>
                <a:latin typeface="Verdana" panose="020B0604030504040204" pitchFamily="34" charset="0"/>
              </a:rPr>
              <a:t>• Der er faldet dom over skadevolder, eller der er gennem anden retsforfølgning, som dog ikke har ført til tiltalerejsning, fastslået en sikker identitet på skadevolder. </a:t>
            </a:r>
          </a:p>
          <a:p>
            <a:endParaRPr lang="da-DK" sz="1800" b="0" i="0" u="none" strike="noStrike" baseline="0" dirty="0">
              <a:solidFill>
                <a:srgbClr val="000000"/>
              </a:solidFill>
              <a:latin typeface="Verdana" panose="020B0604030504040204" pitchFamily="34" charset="0"/>
            </a:endParaRPr>
          </a:p>
          <a:p>
            <a:pPr marL="0" indent="0">
              <a:buNone/>
            </a:pPr>
            <a:r>
              <a:rPr lang="da-DK" sz="1800" b="0" i="0" u="none" strike="noStrike" baseline="0" dirty="0">
                <a:solidFill>
                  <a:srgbClr val="000000"/>
                </a:solidFill>
                <a:latin typeface="Verdana" panose="020B0604030504040204" pitchFamily="34" charset="0"/>
              </a:rPr>
              <a:t>• Skadelidte har på grund af sin tilstand som følge af tilskadekomsten været ude af stand til at anmelde forholdet rettidigt. </a:t>
            </a:r>
          </a:p>
          <a:p>
            <a:endParaRPr lang="da-DK" sz="1800" b="0" i="0" u="none" strike="noStrike" baseline="0" dirty="0">
              <a:solidFill>
                <a:srgbClr val="000000"/>
              </a:solidFill>
              <a:latin typeface="Verdana" panose="020B0604030504040204" pitchFamily="34" charset="0"/>
            </a:endParaRPr>
          </a:p>
          <a:p>
            <a:pPr marL="0" indent="0">
              <a:buNone/>
            </a:pPr>
            <a:r>
              <a:rPr lang="da-DK" sz="1800" b="0" i="0" u="none" strike="noStrike" baseline="0" dirty="0">
                <a:solidFill>
                  <a:srgbClr val="000000"/>
                </a:solidFill>
                <a:latin typeface="Verdana" panose="020B0604030504040204" pitchFamily="34" charset="0"/>
              </a:rPr>
              <a:t>• Skadelidte har været indlagt på skadestue og/eller hospital de første 72 timer efter tilskadekomsten og har været optaget af lægeundersøgelser og/eller operation det meste af tiden. </a:t>
            </a:r>
          </a:p>
          <a:p>
            <a:endParaRPr lang="da-DK" sz="1800" b="0" i="0" u="none" strike="noStrike" baseline="0" dirty="0">
              <a:solidFill>
                <a:srgbClr val="000000"/>
              </a:solidFill>
              <a:latin typeface="Verdana" panose="020B0604030504040204" pitchFamily="34" charset="0"/>
            </a:endParaRPr>
          </a:p>
          <a:p>
            <a:pPr marL="0" indent="0">
              <a:buNone/>
            </a:pPr>
            <a:r>
              <a:rPr lang="da-DK" sz="1800" b="0" i="0" u="none" strike="noStrike" baseline="0" dirty="0">
                <a:solidFill>
                  <a:srgbClr val="000000"/>
                </a:solidFill>
                <a:latin typeface="Verdana" panose="020B0604030504040204" pitchFamily="34" charset="0"/>
              </a:rPr>
              <a:t>• Skadelidte tror indledningsvis med føje, men fejlagtigt, at der ikke er lidt et tab, eller at tabet kun er bagatelagtigt. </a:t>
            </a:r>
          </a:p>
          <a:p>
            <a:endParaRPr lang="da-DK" sz="1800" b="0" i="0" u="none" strike="noStrike" baseline="0" dirty="0">
              <a:solidFill>
                <a:srgbClr val="000000"/>
              </a:solidFill>
              <a:latin typeface="Verdana" panose="020B0604030504040204" pitchFamily="34" charset="0"/>
            </a:endParaRPr>
          </a:p>
          <a:p>
            <a:pPr marL="0" indent="0">
              <a:buNone/>
            </a:pPr>
            <a:r>
              <a:rPr lang="da-DK" sz="1800" b="0" i="0" u="none" strike="noStrike" baseline="0" dirty="0">
                <a:solidFill>
                  <a:srgbClr val="000000"/>
                </a:solidFill>
                <a:latin typeface="Verdana" panose="020B0604030504040204" pitchFamily="34" charset="0"/>
              </a:rPr>
              <a:t>• Skadelidte går med rimelighed ud fra eller har en berettiget forventning om, at forbrydelsen vil blive anmeldt fra anden side. </a:t>
            </a:r>
          </a:p>
          <a:p>
            <a:pPr algn="l"/>
            <a:endParaRPr lang="da-DK" sz="1800" b="0" i="0" u="none" strike="noStrike" baseline="0" dirty="0">
              <a:solidFill>
                <a:srgbClr val="000000"/>
              </a:solidFill>
              <a:latin typeface="Verdana" panose="020B0604030504040204" pitchFamily="34" charset="0"/>
            </a:endParaRPr>
          </a:p>
          <a:p>
            <a:r>
              <a:rPr lang="da-DK" sz="1800" b="1" i="0" u="none" strike="noStrike" baseline="0" dirty="0">
                <a:solidFill>
                  <a:srgbClr val="000000"/>
                </a:solidFill>
                <a:latin typeface="Verdana" panose="020B0604030504040204" pitchFamily="34" charset="0"/>
              </a:rPr>
              <a:t>Sager vedrørende pædagoger og/eller plejepersonale, der som følge af en straffelovsovertrædelse er kommet til skade i arbejdstiden, og hvor konkrete pædagogiske og/eller behandlingsmæssige hensyn taler imod politianmeldelse. Dokumentation herfor vil normalt kunne foreligge ved en udtalelse fra den ansattes arbejdsgiver, som fastslår, at der foreligger sådanne konkrete hensyn i den pågældende sag. </a:t>
            </a:r>
          </a:p>
          <a:p>
            <a:pPr marL="0" indent="0">
              <a:buNone/>
            </a:pPr>
            <a:endParaRPr lang="da-DK" sz="2400" dirty="0"/>
          </a:p>
        </p:txBody>
      </p:sp>
    </p:spTree>
    <p:extLst>
      <p:ext uri="{BB962C8B-B14F-4D97-AF65-F5344CB8AC3E}">
        <p14:creationId xmlns:p14="http://schemas.microsoft.com/office/powerpoint/2010/main" val="39727947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43C823D3-D619-407C-89E0-C6F6B1E7A4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9">
            <a:extLst>
              <a:ext uri="{FF2B5EF4-FFF2-40B4-BE49-F238E27FC236}">
                <a16:creationId xmlns:a16="http://schemas.microsoft.com/office/drawing/2014/main" id="{047F8E3E-2FFA-4A0F-B3C7-E57ADDCFB4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a:xfrm>
            <a:off x="1179226" y="1594707"/>
            <a:ext cx="9833548" cy="1325563"/>
          </a:xfrm>
        </p:spPr>
        <p:txBody>
          <a:bodyPr anchor="b">
            <a:normAutofit/>
          </a:bodyPr>
          <a:lstStyle/>
          <a:p>
            <a:pPr algn="ctr"/>
            <a:br>
              <a:rPr lang="da-DK" sz="2800" b="0" i="0" u="none" strike="noStrike" baseline="0">
                <a:solidFill>
                  <a:schemeClr val="tx2"/>
                </a:solidFill>
                <a:latin typeface="Calibri" panose="020F0502020204030204" pitchFamily="34" charset="0"/>
              </a:rPr>
            </a:br>
            <a:r>
              <a:rPr lang="da-DK" sz="2800" b="1" i="0" u="none" strike="noStrike" baseline="0">
                <a:solidFill>
                  <a:schemeClr val="tx2"/>
                </a:solidFill>
                <a:latin typeface="Calibri" panose="020F0502020204030204" pitchFamily="34" charset="0"/>
              </a:rPr>
              <a:t>Handleberedskab i forbindelse med arbejdsrelateret vold, trusler og krænkende handlinger fra borgere </a:t>
            </a:r>
            <a:endParaRPr lang="da-DK" sz="2800">
              <a:solidFill>
                <a:schemeClr val="tx2"/>
              </a:solidFill>
            </a:endParaRPr>
          </a:p>
        </p:txBody>
      </p:sp>
      <p:grpSp>
        <p:nvGrpSpPr>
          <p:cNvPr id="12" name="Group 11">
            <a:extLst>
              <a:ext uri="{FF2B5EF4-FFF2-40B4-BE49-F238E27FC236}">
                <a16:creationId xmlns:a16="http://schemas.microsoft.com/office/drawing/2014/main" id="{33D939F1-7ABE-4D0E-946A-43F37F556A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3346102" cy="2510865"/>
            <a:chOff x="-305" y="-1"/>
            <a:chExt cx="3832880" cy="2876136"/>
          </a:xfrm>
        </p:grpSpPr>
        <p:sp>
          <p:nvSpPr>
            <p:cNvPr id="13" name="Freeform: Shape 12">
              <a:extLst>
                <a:ext uri="{FF2B5EF4-FFF2-40B4-BE49-F238E27FC236}">
                  <a16:creationId xmlns:a16="http://schemas.microsoft.com/office/drawing/2014/main" id="{63FE0426-0FE4-451E-A8BB-08DA6A6AC2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4A32F7E8-35B4-451F-AA07-AECF7CA1D5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E1097796-C3C8-4772-9EBD-9F5CA368F5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EC4BC137-BB50-4235-A83F-4B4EEE15904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1179226" y="3329677"/>
            <a:ext cx="9833548" cy="2457269"/>
          </a:xfrm>
        </p:spPr>
        <p:txBody>
          <a:bodyPr>
            <a:normAutofit/>
          </a:bodyPr>
          <a:lstStyle/>
          <a:p>
            <a:endParaRPr lang="da-DK" sz="1100" b="0" i="0" u="none" strike="noStrike" baseline="0" dirty="0">
              <a:solidFill>
                <a:schemeClr val="tx2"/>
              </a:solidFill>
              <a:latin typeface="Calibri" panose="020F0502020204030204" pitchFamily="34" charset="0"/>
            </a:endParaRPr>
          </a:p>
          <a:p>
            <a:pPr marL="0" indent="0">
              <a:buNone/>
            </a:pPr>
            <a:r>
              <a:rPr lang="da-DK" sz="1100" b="1" i="0" u="none" strike="noStrike" baseline="0" dirty="0">
                <a:solidFill>
                  <a:schemeClr val="tx2"/>
                </a:solidFill>
                <a:latin typeface="Calibri" panose="020F0502020204030204" pitchFamily="34" charset="0"/>
              </a:rPr>
              <a:t>Hvad gør jeg som leder / medarbejder / kollega ved i forbindelse med arbejdsrelateret vold? </a:t>
            </a:r>
            <a:endParaRPr lang="da-DK" sz="1100" b="0" i="0" u="none" strike="noStrike" baseline="0" dirty="0">
              <a:solidFill>
                <a:schemeClr val="tx2"/>
              </a:solidFill>
              <a:latin typeface="Calibri" panose="020F0502020204030204" pitchFamily="34" charset="0"/>
            </a:endParaRPr>
          </a:p>
          <a:p>
            <a:pPr marL="0" indent="0">
              <a:buNone/>
            </a:pPr>
            <a:r>
              <a:rPr lang="da-DK" sz="1100" b="0" i="0" u="none" strike="noStrike" baseline="0" dirty="0">
                <a:solidFill>
                  <a:schemeClr val="tx2"/>
                </a:solidFill>
                <a:latin typeface="Calibri" panose="020F0502020204030204" pitchFamily="34" charset="0"/>
              </a:rPr>
              <a:t>Kollegial psykisk førstehjælp efter behov og umiddelbart efter episoden: </a:t>
            </a:r>
          </a:p>
          <a:p>
            <a:pPr marL="0" indent="0">
              <a:buNone/>
            </a:pPr>
            <a:r>
              <a:rPr lang="da-DK" sz="1100" b="0" i="0" u="none" strike="noStrike" baseline="0" dirty="0">
                <a:solidFill>
                  <a:schemeClr val="tx2"/>
                </a:solidFill>
                <a:latin typeface="Calibri" panose="020F0502020204030204" pitchFamily="34" charset="0"/>
              </a:rPr>
              <a:t>• Til tilskadekomne og evt. øvrige involverede. Ledsage tilskadekomne til skadestue, hvis det er påkrævet. </a:t>
            </a:r>
          </a:p>
          <a:p>
            <a:pPr marL="0" indent="0">
              <a:buNone/>
            </a:pPr>
            <a:r>
              <a:rPr lang="da-DK" sz="1100" b="0" i="0" u="none" strike="noStrike" baseline="0" dirty="0">
                <a:solidFill>
                  <a:schemeClr val="tx2"/>
                </a:solidFill>
                <a:latin typeface="Calibri" panose="020F0502020204030204" pitchFamily="34" charset="0"/>
              </a:rPr>
              <a:t>• Ledsage tilskadekomne til hjemmet efter behov. </a:t>
            </a:r>
          </a:p>
          <a:p>
            <a:pPr marL="0" indent="0">
              <a:buNone/>
            </a:pPr>
            <a:r>
              <a:rPr lang="da-DK" sz="1100" b="0" i="0" u="none" strike="noStrike" baseline="0" dirty="0">
                <a:solidFill>
                  <a:schemeClr val="tx2"/>
                </a:solidFill>
                <a:latin typeface="Calibri" panose="020F0502020204030204" pitchFamily="34" charset="0"/>
              </a:rPr>
              <a:t>• Leder/ledelsen tager stilling til, evt. i samråd med fx arbejdsmiljørepræsentant om professionel krisehjælp skal tilbydes, Frederiksberg Kommune har aftale med Dansk </a:t>
            </a:r>
            <a:r>
              <a:rPr lang="da-DK" sz="1100" b="0" i="0" u="none" strike="noStrike" baseline="0" dirty="0" err="1">
                <a:solidFill>
                  <a:schemeClr val="tx2"/>
                </a:solidFill>
                <a:latin typeface="Calibri" panose="020F0502020204030204" pitchFamily="34" charset="0"/>
              </a:rPr>
              <a:t>Erhvervspsykologi</a:t>
            </a:r>
            <a:r>
              <a:rPr lang="da-DK" sz="1100" b="0" i="0" u="none" strike="noStrike" baseline="0" dirty="0">
                <a:solidFill>
                  <a:schemeClr val="tx2"/>
                </a:solidFill>
                <a:latin typeface="Calibri" panose="020F0502020204030204" pitchFamily="34" charset="0"/>
              </a:rPr>
              <a:t>. </a:t>
            </a:r>
          </a:p>
          <a:p>
            <a:pPr marL="0" indent="0">
              <a:buNone/>
            </a:pPr>
            <a:r>
              <a:rPr lang="da-DK" sz="1100" b="0" i="0" u="none" strike="noStrike" baseline="0" dirty="0">
                <a:solidFill>
                  <a:schemeClr val="tx2"/>
                </a:solidFill>
                <a:latin typeface="Calibri" panose="020F0502020204030204" pitchFamily="34" charset="0"/>
              </a:rPr>
              <a:t>• Leder/ledelsen sørger for at indkalde afløser for den tilskadekomne, hvis det er nødvendigt. </a:t>
            </a:r>
          </a:p>
          <a:p>
            <a:pPr marL="0" indent="0">
              <a:buNone/>
            </a:pPr>
            <a:r>
              <a:rPr lang="da-DK" sz="1100" b="0" i="0" u="none" strike="noStrike" baseline="0" dirty="0">
                <a:solidFill>
                  <a:schemeClr val="tx2"/>
                </a:solidFill>
                <a:latin typeface="Calibri" panose="020F0502020204030204" pitchFamily="34" charset="0"/>
              </a:rPr>
              <a:t>• Give den tilskadekomne folder med gode råd til den ramte og de pårørende: Din pårørende har været udsat for vold </a:t>
            </a:r>
          </a:p>
          <a:p>
            <a:pPr marL="0" indent="0">
              <a:buNone/>
            </a:pPr>
            <a:endParaRPr lang="da-DK" sz="1100" dirty="0">
              <a:solidFill>
                <a:schemeClr val="tx2"/>
              </a:solidFill>
            </a:endParaRPr>
          </a:p>
        </p:txBody>
      </p:sp>
      <p:grpSp>
        <p:nvGrpSpPr>
          <p:cNvPr id="18" name="Group 17">
            <a:extLst>
              <a:ext uri="{FF2B5EF4-FFF2-40B4-BE49-F238E27FC236}">
                <a16:creationId xmlns:a16="http://schemas.microsoft.com/office/drawing/2014/main" id="{9DB3963A-4187-4A72-9DA4-CA6BADE2293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9072780" y="3734338"/>
            <a:ext cx="3878664" cy="2368659"/>
            <a:chOff x="6867015" y="-1"/>
            <a:chExt cx="5324985" cy="3251912"/>
          </a:xfrm>
          <a:solidFill>
            <a:schemeClr val="accent5">
              <a:alpha val="10000"/>
            </a:schemeClr>
          </a:solidFill>
        </p:grpSpPr>
        <p:sp>
          <p:nvSpPr>
            <p:cNvPr id="19" name="Freeform: Shape 18">
              <a:extLst>
                <a:ext uri="{FF2B5EF4-FFF2-40B4-BE49-F238E27FC236}">
                  <a16:creationId xmlns:a16="http://schemas.microsoft.com/office/drawing/2014/main" id="{2428E75E-001A-4568-B035-574F1303EF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64AC8CFC-1164-4525-82A0-25F75ADCF4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6F35C856-5B70-4CA2-BB8F-A37197D8F9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550FD8B0-DE97-47B1-84ED-67A3BD00FE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872513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2400" b="1" i="0" u="none" strike="noStrike" baseline="0" dirty="0">
                <a:solidFill>
                  <a:srgbClr val="000000"/>
                </a:solidFill>
                <a:latin typeface="Calibri" panose="020F0502020204030204" pitchFamily="34" charset="0"/>
              </a:rPr>
              <a:t>Handleberedskab i forbindelse med arbejdsrelateret vold, trusler og krænkende handlinger fra borgere </a:t>
            </a:r>
            <a:endParaRPr lang="da-DK" sz="2400"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838200" y="2001328"/>
            <a:ext cx="10515600" cy="4491547"/>
          </a:xfrm>
        </p:spPr>
        <p:txBody>
          <a:bodyPr>
            <a:normAutofit/>
          </a:bodyPr>
          <a:lstStyle/>
          <a:p>
            <a:pPr algn="l"/>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Hvad gør jeg som leder efter episoden? Anmeldelse af arbejdsrelateret vold </a:t>
            </a:r>
            <a:endParaRPr lang="da-DK" sz="1800" b="0" i="0" u="none" strike="noStrike" baseline="0" dirty="0">
              <a:solidFill>
                <a:srgbClr val="000000"/>
              </a:solidFill>
              <a:latin typeface="Calibri" panose="020F0502020204030204" pitchFamily="34" charset="0"/>
            </a:endParaRPr>
          </a:p>
          <a:p>
            <a:pPr marL="0" indent="0">
              <a:buNone/>
            </a:pPr>
            <a:r>
              <a:rPr lang="da-DK" sz="1800" b="0" i="0" u="none" strike="noStrike" baseline="0" dirty="0">
                <a:solidFill>
                  <a:srgbClr val="000000"/>
                </a:solidFill>
                <a:latin typeface="Calibri" panose="020F0502020204030204" pitchFamily="34" charset="0"/>
              </a:rPr>
              <a:t>• Som leder har du pligt til at anmelde episoden som en arbejdsulykke i </a:t>
            </a:r>
            <a:r>
              <a:rPr lang="da-DK" sz="1800" b="0" i="0" u="none" strike="noStrike" baseline="0" dirty="0" err="1">
                <a:solidFill>
                  <a:srgbClr val="000000"/>
                </a:solidFill>
                <a:latin typeface="Calibri" panose="020F0502020204030204" pitchFamily="34" charset="0"/>
              </a:rPr>
              <a:t>SafetyNet</a:t>
            </a:r>
            <a:r>
              <a:rPr lang="da-DK" sz="1800" b="0" i="0" u="none" strike="noStrike" baseline="0" dirty="0">
                <a:solidFill>
                  <a:srgbClr val="000000"/>
                </a:solidFill>
                <a:latin typeface="Calibri" panose="020F0502020204030204" pitchFamily="34" charset="0"/>
              </a:rPr>
              <a:t> indenfor 14 dage, hvis der er fravær ud over tilskadekomstdagen. </a:t>
            </a:r>
          </a:p>
          <a:p>
            <a:pPr marL="0" indent="0">
              <a:buNone/>
            </a:pPr>
            <a:r>
              <a:rPr lang="da-DK" sz="1800" b="0" i="0" u="none" strike="noStrike" baseline="0" dirty="0">
                <a:solidFill>
                  <a:srgbClr val="000000"/>
                </a:solidFill>
                <a:latin typeface="Calibri" panose="020F0502020204030204" pitchFamily="34" charset="0"/>
              </a:rPr>
              <a:t>• Hvis der ikke har været fravær, registreres episoden i </a:t>
            </a:r>
            <a:r>
              <a:rPr lang="da-DK" sz="1800" b="0" i="0" u="none" strike="noStrike" baseline="0" dirty="0" err="1">
                <a:solidFill>
                  <a:srgbClr val="000000"/>
                </a:solidFill>
                <a:latin typeface="Calibri" panose="020F0502020204030204" pitchFamily="34" charset="0"/>
              </a:rPr>
              <a:t>SafetyNet</a:t>
            </a:r>
            <a:r>
              <a:rPr lang="da-DK" sz="1800" b="0" i="0" u="none" strike="noStrike" baseline="0" dirty="0">
                <a:solidFill>
                  <a:srgbClr val="000000"/>
                </a:solidFill>
                <a:latin typeface="Calibri" panose="020F0502020204030204" pitchFamily="34" charset="0"/>
              </a:rPr>
              <a:t> Single Sign On systemet. </a:t>
            </a:r>
          </a:p>
          <a:p>
            <a:pPr marL="0" indent="0">
              <a:buNone/>
            </a:pPr>
            <a:r>
              <a:rPr lang="da-DK" sz="1800" b="0" i="0" u="none" strike="noStrike" baseline="0" dirty="0">
                <a:solidFill>
                  <a:srgbClr val="000000"/>
                </a:solidFill>
                <a:latin typeface="Calibri" panose="020F0502020204030204" pitchFamily="34" charset="0"/>
              </a:rPr>
              <a:t>• Som leder har du pligt til indenfor 72 timer, at politianmelde episoder der falder ind under straffelovens betydning og som der ikke kan dispenseres for. </a:t>
            </a:r>
          </a:p>
          <a:p>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Hvad gør leder og arbejdsmiljørepræsentanten (arbejdsmiljøgruppen)? </a:t>
            </a:r>
            <a:r>
              <a:rPr lang="da-DK" sz="1800" b="0" i="0" u="none" strike="noStrike" baseline="0" dirty="0">
                <a:solidFill>
                  <a:srgbClr val="000000"/>
                </a:solidFill>
                <a:latin typeface="Calibri" panose="020F0502020204030204" pitchFamily="34" charset="0"/>
              </a:rPr>
              <a:t>Arbejdsmiljøgruppen gennemgår hændelsen med henblik på at undgå gentagelse og forebygge fremad rettet. </a:t>
            </a:r>
          </a:p>
          <a:p>
            <a:pPr marL="0" indent="0">
              <a:buNone/>
            </a:pPr>
            <a:r>
              <a:rPr lang="da-DK" sz="1800" b="0" i="0" u="none" strike="noStrike" baseline="0" dirty="0">
                <a:solidFill>
                  <a:srgbClr val="000000"/>
                </a:solidFill>
                <a:latin typeface="Calibri" panose="020F0502020204030204" pitchFamily="34" charset="0"/>
              </a:rPr>
              <a:t>• Arbejdsmiljøgruppen informerer arbejdspladsen om episoden og hvilke umiddelbare tiltag der tages for at forhindre gentagelser, efter en konkret vurdering. </a:t>
            </a:r>
          </a:p>
          <a:p>
            <a:pPr marL="0" indent="0">
              <a:buNone/>
            </a:pPr>
            <a:endParaRPr lang="da-DK" sz="2400" dirty="0"/>
          </a:p>
        </p:txBody>
      </p:sp>
    </p:spTree>
    <p:extLst>
      <p:ext uri="{BB962C8B-B14F-4D97-AF65-F5344CB8AC3E}">
        <p14:creationId xmlns:p14="http://schemas.microsoft.com/office/powerpoint/2010/main" val="22483757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a:xfrm>
            <a:off x="1383564" y="348865"/>
            <a:ext cx="9718111" cy="1576446"/>
          </a:xfrm>
        </p:spPr>
        <p:txBody>
          <a:bodyPr anchor="ctr">
            <a:normAutofit/>
          </a:bodyPr>
          <a:lstStyle/>
          <a:p>
            <a:br>
              <a:rPr lang="da-DK" sz="3400" b="0" i="0" u="none" strike="noStrike" baseline="0">
                <a:solidFill>
                  <a:srgbClr val="FFFFFF"/>
                </a:solidFill>
                <a:latin typeface="Calibri" panose="020F0502020204030204" pitchFamily="34" charset="0"/>
              </a:rPr>
            </a:br>
            <a:r>
              <a:rPr lang="da-DK" sz="3400" b="0" i="0" u="none" strike="noStrike" baseline="0">
                <a:solidFill>
                  <a:srgbClr val="FFFFFF"/>
                </a:solidFill>
                <a:latin typeface="Calibri" panose="020F0502020204030204" pitchFamily="34" charset="0"/>
              </a:rPr>
              <a:t> </a:t>
            </a:r>
            <a:r>
              <a:rPr lang="da-DK" sz="3400" b="1" i="0" u="none" strike="noStrike" baseline="0">
                <a:solidFill>
                  <a:srgbClr val="FFFFFF"/>
                </a:solidFill>
                <a:latin typeface="Calibri" panose="020F0502020204030204" pitchFamily="34" charset="0"/>
              </a:rPr>
              <a:t>Krænkende handlinger – overordnet retningslinje - indledning </a:t>
            </a:r>
            <a:endParaRPr lang="da-DK" sz="3400">
              <a:solidFill>
                <a:srgbClr val="FFFFFF"/>
              </a:solidFill>
            </a:endParaRPr>
          </a:p>
        </p:txBody>
      </p:sp>
      <p:graphicFrame>
        <p:nvGraphicFramePr>
          <p:cNvPr id="5" name="Pladsholder til indhold 2">
            <a:extLst>
              <a:ext uri="{FF2B5EF4-FFF2-40B4-BE49-F238E27FC236}">
                <a16:creationId xmlns:a16="http://schemas.microsoft.com/office/drawing/2014/main" id="{2A6D1E9D-38B3-1090-A27E-AA22E0A31294}"/>
              </a:ext>
            </a:extLst>
          </p:cNvPr>
          <p:cNvGraphicFramePr>
            <a:graphicFrameLocks noGrp="1"/>
          </p:cNvGraphicFramePr>
          <p:nvPr>
            <p:ph idx="1"/>
            <p:extLst>
              <p:ext uri="{D42A27DB-BD31-4B8C-83A1-F6EECF244321}">
                <p14:modId xmlns:p14="http://schemas.microsoft.com/office/powerpoint/2010/main" val="2412788983"/>
              </p:ext>
            </p:extLst>
          </p:nvPr>
        </p:nvGraphicFramePr>
        <p:xfrm>
          <a:off x="644056" y="2615979"/>
          <a:ext cx="10927829" cy="3689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581461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2400" b="1" i="0" u="none" strike="noStrike" baseline="0" dirty="0">
                <a:solidFill>
                  <a:srgbClr val="000000"/>
                </a:solidFill>
                <a:latin typeface="Calibri" panose="020F0502020204030204" pitchFamily="34" charset="0"/>
              </a:rPr>
              <a:t>Frederiksberg Kommunes retningslinje for krænkende handlinger (chikane, seksuel chikane, mobning m.v.) internt på arbejdspladsen. </a:t>
            </a:r>
            <a:endParaRPr lang="da-DK" sz="2400"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fontScale="92500" lnSpcReduction="20000"/>
          </a:bodyPr>
          <a:lstStyle/>
          <a:p>
            <a:pPr marL="0" indent="0">
              <a:buNone/>
            </a:pPr>
            <a:r>
              <a:rPr lang="da-DK" sz="1800" b="1" i="0" u="none" strike="noStrike" baseline="0" dirty="0">
                <a:solidFill>
                  <a:srgbClr val="000000"/>
                </a:solidFill>
                <a:latin typeface="Calibri" panose="020F0502020204030204" pitchFamily="34" charset="0"/>
              </a:rPr>
              <a:t>Krænkende handlinger i form af chikane</a:t>
            </a:r>
          </a:p>
          <a:p>
            <a:pPr marL="0" indent="0">
              <a:buNone/>
            </a:pPr>
            <a:r>
              <a:rPr lang="da-DK" sz="1800" b="0" i="0" u="none" strike="noStrike" baseline="0" dirty="0">
                <a:solidFill>
                  <a:srgbClr val="000000"/>
                </a:solidFill>
                <a:latin typeface="Calibri" panose="020F0502020204030204" pitchFamily="34" charset="0"/>
              </a:rPr>
              <a:t>er alle former for uønsket verbal, ikke-verbal eller fysisk adfærd som skaber et truende, fjendtligt, nedværdigende, ydmygende eller ubehageligt miljø. </a:t>
            </a:r>
          </a:p>
          <a:p>
            <a:pPr marL="0" indent="0">
              <a:buNone/>
            </a:pPr>
            <a:r>
              <a:rPr lang="da-DK" sz="1800" b="1" i="0" u="none" strike="noStrike" baseline="0" dirty="0">
                <a:solidFill>
                  <a:srgbClr val="000000"/>
                </a:solidFill>
                <a:latin typeface="Calibri" panose="020F0502020204030204" pitchFamily="34" charset="0"/>
              </a:rPr>
              <a:t>Krænkende handlinger i form af seksuel chikane</a:t>
            </a:r>
          </a:p>
          <a:p>
            <a:pPr marL="0" indent="0">
              <a:buNone/>
            </a:pPr>
            <a:r>
              <a:rPr lang="da-DK" sz="1800" b="0" i="0" u="none" strike="noStrike" baseline="0" dirty="0">
                <a:solidFill>
                  <a:srgbClr val="000000"/>
                </a:solidFill>
                <a:latin typeface="Calibri" panose="020F0502020204030204" pitchFamily="34" charset="0"/>
              </a:rPr>
              <a:t>er alle former for uønsket verbal, ikke-verbal eller fysisk adfærd med seksuelle undertoner, som krænker en persons værdighed, navnlig ved at skabe et truende, fjendtligt, nedværdigende, ydmygende eller ubehageligt miljø – både fysisk og psykisk. </a:t>
            </a:r>
          </a:p>
          <a:p>
            <a:pPr marL="0" indent="0">
              <a:buNone/>
            </a:pPr>
            <a:r>
              <a:rPr lang="da-DK" sz="1800" b="1" i="0" u="none" strike="noStrike" baseline="0" dirty="0">
                <a:solidFill>
                  <a:srgbClr val="000000"/>
                </a:solidFill>
                <a:latin typeface="Calibri" panose="020F0502020204030204" pitchFamily="34" charset="0"/>
              </a:rPr>
              <a:t>Krænkende handlinger i form af mobning </a:t>
            </a:r>
            <a:endParaRPr lang="da-DK" sz="1800" b="0" i="0" u="none" strike="noStrike" baseline="0" dirty="0">
              <a:solidFill>
                <a:srgbClr val="000000"/>
              </a:solidFill>
              <a:latin typeface="Calibri" panose="020F0502020204030204" pitchFamily="34" charset="0"/>
            </a:endParaRPr>
          </a:p>
          <a:p>
            <a:pPr marL="0" indent="0">
              <a:buNone/>
            </a:pPr>
            <a:r>
              <a:rPr lang="da-DK" sz="1800" b="0" i="0" u="none" strike="noStrike" baseline="0" dirty="0">
                <a:solidFill>
                  <a:srgbClr val="000000"/>
                </a:solidFill>
                <a:latin typeface="Calibri" panose="020F0502020204030204" pitchFamily="34" charset="0"/>
              </a:rPr>
              <a:t>Mobning er udtryk for manglende tolerance og udvisning af ringeagt for andre mennesker. Mobning er en adfærd, der kan være med til at ødelægge et andet menneskes selvrespekt og selvværd. </a:t>
            </a:r>
          </a:p>
          <a:p>
            <a:pPr marL="0" indent="0">
              <a:buNone/>
            </a:pPr>
            <a:r>
              <a:rPr lang="da-DK" sz="1800" b="0" i="0" u="none" strike="noStrike" baseline="0" dirty="0">
                <a:solidFill>
                  <a:srgbClr val="000000"/>
                </a:solidFill>
                <a:latin typeface="Calibri" panose="020F0502020204030204" pitchFamily="34" charset="0"/>
              </a:rPr>
              <a:t>Der er tale om mobning, når en eller flere personer regelmæssigt og over længere tid - eller gentagne gange på grov vis - udsætter en eller flere andre personer for krænkende handlinger, som vedkommende opfatter som sårende eller nedværdigende. De krænkende handlinger bliver dog først til mobning, når de personer, som de rettes mod, ikke er i stand til at forsvare sig effektivt imod dem. </a:t>
            </a:r>
          </a:p>
          <a:p>
            <a:pPr marL="0" indent="0">
              <a:buNone/>
            </a:pPr>
            <a:r>
              <a:rPr lang="da-DK" sz="1800" b="0" i="0" u="none" strike="noStrike" baseline="0" dirty="0">
                <a:solidFill>
                  <a:srgbClr val="000000"/>
                </a:solidFill>
                <a:latin typeface="Calibri" panose="020F0502020204030204" pitchFamily="34" charset="0"/>
              </a:rPr>
              <a:t>Det, der endvidere adskiller mobning fra andre måder at krænke på, er, at det altid er den eller de samme personer eller grupper af personer, der systematisk udsættes for de krænkende handlinger. Ligesom det ofte er den eller de samme personer, der udøver de krænkende handlinger. </a:t>
            </a:r>
            <a:endParaRPr lang="da-DK" dirty="0"/>
          </a:p>
        </p:txBody>
      </p:sp>
    </p:spTree>
    <p:extLst>
      <p:ext uri="{BB962C8B-B14F-4D97-AF65-F5344CB8AC3E}">
        <p14:creationId xmlns:p14="http://schemas.microsoft.com/office/powerpoint/2010/main" val="31562434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2400" b="1" i="0" u="none" strike="noStrike" baseline="0" dirty="0">
                <a:solidFill>
                  <a:srgbClr val="000000"/>
                </a:solidFill>
                <a:latin typeface="Calibri" panose="020F0502020204030204" pitchFamily="34" charset="0"/>
              </a:rPr>
              <a:t>Leders og medarbejders ansvar </a:t>
            </a:r>
            <a:endParaRPr lang="da-DK" sz="2400"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a:bodyPr>
          <a:lstStyle/>
          <a:p>
            <a:pPr marL="0" indent="0">
              <a:buNone/>
            </a:pPr>
            <a:r>
              <a:rPr lang="da-DK" sz="1800" b="0" i="0" u="none" strike="noStrike" baseline="0" dirty="0">
                <a:solidFill>
                  <a:srgbClr val="000000"/>
                </a:solidFill>
                <a:latin typeface="Calibri" panose="020F0502020204030204" pitchFamily="34" charset="0"/>
              </a:rPr>
              <a:t>Alle medarbejdere og ledere har et ansvar for: </a:t>
            </a:r>
          </a:p>
          <a:p>
            <a:pPr marL="0" indent="0">
              <a:buNone/>
            </a:pPr>
            <a:r>
              <a:rPr lang="da-DK" sz="1800" b="0" i="0" u="none" strike="noStrike" baseline="0" dirty="0">
                <a:solidFill>
                  <a:srgbClr val="000000"/>
                </a:solidFill>
                <a:latin typeface="Calibri" panose="020F0502020204030204" pitchFamily="34" charset="0"/>
              </a:rPr>
              <a:t>• At krænkende handlinger ikke finder sted </a:t>
            </a:r>
          </a:p>
          <a:p>
            <a:pPr marL="0" indent="0">
              <a:buNone/>
            </a:pPr>
            <a:r>
              <a:rPr lang="da-DK" sz="1800" b="0" i="0" u="none" strike="noStrike" baseline="0" dirty="0">
                <a:solidFill>
                  <a:srgbClr val="000000"/>
                </a:solidFill>
                <a:latin typeface="Calibri" panose="020F0502020204030204" pitchFamily="34" charset="0"/>
              </a:rPr>
              <a:t>• At gøre opmærksom på hvis det sker </a:t>
            </a:r>
          </a:p>
          <a:p>
            <a:pPr marL="0" indent="0">
              <a:buNone/>
            </a:pPr>
            <a:r>
              <a:rPr lang="da-DK" sz="1800" b="0" i="0" u="none" strike="noStrike" baseline="0" dirty="0">
                <a:solidFill>
                  <a:srgbClr val="000000"/>
                </a:solidFill>
                <a:latin typeface="Calibri" panose="020F0502020204030204" pitchFamily="34" charset="0"/>
              </a:rPr>
              <a:t>• Generelt medvirke til en ordentlig og professionel omgangstone på arbejdspladsen </a:t>
            </a:r>
          </a:p>
          <a:p>
            <a:pPr marL="0" indent="0">
              <a:buNone/>
            </a:pPr>
            <a:r>
              <a:rPr lang="da-DK" sz="1800" b="0" i="0" u="none" strike="noStrike" baseline="0" dirty="0">
                <a:solidFill>
                  <a:srgbClr val="000000"/>
                </a:solidFill>
                <a:latin typeface="Calibri" panose="020F0502020204030204" pitchFamily="34" charset="0"/>
              </a:rPr>
              <a:t>• Lederne skal varetager deres særlige ansvar for at sikre et godt psykosocialt arbejdsmiljø inden for deres område. </a:t>
            </a:r>
          </a:p>
          <a:p>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Ledelsen har som en rollemodel et særligt ansvar for at gå forrest og sikre, at oplevelsen af krænkende handlinger bliver taget alvorligt og håndteret med fokus på alle parter i sagen. </a:t>
            </a:r>
            <a:endParaRPr lang="da-DK" b="1" dirty="0"/>
          </a:p>
        </p:txBody>
      </p:sp>
    </p:spTree>
    <p:extLst>
      <p:ext uri="{BB962C8B-B14F-4D97-AF65-F5344CB8AC3E}">
        <p14:creationId xmlns:p14="http://schemas.microsoft.com/office/powerpoint/2010/main" val="27226113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1800" b="1" i="0" u="none" strike="noStrike" baseline="0" dirty="0">
                <a:solidFill>
                  <a:srgbClr val="000000"/>
                </a:solidFill>
                <a:latin typeface="Calibri" panose="020F0502020204030204" pitchFamily="34" charset="0"/>
              </a:rPr>
              <a:t>MED-organisationens ansvar </a:t>
            </a:r>
            <a:endParaRPr lang="da-DK"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fontScale="92500" lnSpcReduction="10000"/>
          </a:bodyPr>
          <a:lstStyle/>
          <a:p>
            <a:pPr marL="0" indent="0">
              <a:buNone/>
            </a:pPr>
            <a:r>
              <a:rPr lang="da-DK" sz="1800" b="1" i="0" u="none" strike="noStrike" baseline="0" dirty="0">
                <a:solidFill>
                  <a:srgbClr val="000000"/>
                </a:solidFill>
                <a:latin typeface="Calibri" panose="020F0502020204030204" pitchFamily="34" charset="0"/>
              </a:rPr>
              <a:t>Det enkelte lokal-MED skal i forhold til forebyggelse og identifikation sikre at</a:t>
            </a:r>
            <a:r>
              <a:rPr lang="da-DK" sz="1800" b="0" i="0" u="none" strike="noStrike" baseline="0" dirty="0">
                <a:solidFill>
                  <a:srgbClr val="000000"/>
                </a:solidFill>
                <a:latin typeface="Calibri" panose="020F0502020204030204" pitchFamily="34" charset="0"/>
              </a:rPr>
              <a:t>: </a:t>
            </a:r>
          </a:p>
          <a:p>
            <a:pPr marL="0" indent="0">
              <a:buNone/>
            </a:pPr>
            <a:r>
              <a:rPr lang="da-DK" sz="1800" b="0" i="0" u="none" strike="noStrike" baseline="0" dirty="0">
                <a:solidFill>
                  <a:srgbClr val="000000"/>
                </a:solidFill>
                <a:latin typeface="Calibri" panose="020F0502020204030204" pitchFamily="34" charset="0"/>
              </a:rPr>
              <a:t>• Omsætte denne retningslinje for krænkende handlinger, til det lokale behov </a:t>
            </a:r>
          </a:p>
          <a:p>
            <a:pPr marL="0" indent="0">
              <a:buNone/>
            </a:pPr>
            <a:r>
              <a:rPr lang="da-DK" sz="1800" b="0" i="0" u="none" strike="noStrike" baseline="0" dirty="0">
                <a:solidFill>
                  <a:srgbClr val="000000"/>
                </a:solidFill>
                <a:latin typeface="Calibri" panose="020F0502020204030204" pitchFamily="34" charset="0"/>
              </a:rPr>
              <a:t>• Arbejdspladsen vurderer og kortlægger omfanget af krænkende handlinger, hvilket kan ske gennem APV, trivselsmålinger eller anden form for kortlægning. </a:t>
            </a:r>
          </a:p>
          <a:p>
            <a:pPr marL="0" indent="0">
              <a:buNone/>
            </a:pPr>
            <a:r>
              <a:rPr lang="da-DK" sz="1800" b="0" i="0" u="none" strike="noStrike" baseline="0" dirty="0">
                <a:solidFill>
                  <a:srgbClr val="000000"/>
                </a:solidFill>
                <a:latin typeface="Calibri" panose="020F0502020204030204" pitchFamily="34" charset="0"/>
              </a:rPr>
              <a:t>• MED-udvalget i samarbejde med arbejdsmiljøgrupperne overordnet, drøfter omfanget af krænkende handlinger, med henblik på at finde relevante forebyggelsestiltag og vurdere om de valgte tiltag er effektive, f.eks. i forbindelse med APV, trivselsmålinger og den årlige arbejdsmiljødrøftelse. </a:t>
            </a:r>
          </a:p>
          <a:p>
            <a:pPr marL="0" indent="0" algn="l">
              <a:buNone/>
            </a:pPr>
            <a:r>
              <a:rPr lang="da-DK" sz="1800" b="1" i="0" u="none" strike="noStrike" baseline="0" dirty="0">
                <a:solidFill>
                  <a:srgbClr val="000000"/>
                </a:solidFill>
                <a:latin typeface="Calibri" panose="020F0502020204030204" pitchFamily="34" charset="0"/>
              </a:rPr>
              <a:t>skal MED-udvalget sikre at der på arbejdspladsen sker forebyggende tiltag mod krænkende handlinger, ved f.eks. at: </a:t>
            </a:r>
            <a:endParaRPr lang="da-DK" sz="1800" b="1" i="0" u="none" strike="noStrike" baseline="0" dirty="0">
              <a:solidFill>
                <a:srgbClr val="000000"/>
              </a:solidFill>
              <a:latin typeface="Symbol" panose="05050102010706020507" pitchFamily="18" charset="2"/>
            </a:endParaRPr>
          </a:p>
          <a:p>
            <a:r>
              <a:rPr lang="da-DK" sz="1800" b="0" i="0" u="none" strike="noStrike" baseline="0" dirty="0">
                <a:solidFill>
                  <a:srgbClr val="000000"/>
                </a:solidFill>
                <a:latin typeface="Calibri" panose="020F0502020204030204" pitchFamily="34" charset="0"/>
              </a:rPr>
              <a:t>Udvikle en organisationskultur med normer og værdier, som aktivt modvirker krænkende handlinger, herunder mobning og seksuel chikane. Det kræver, at hele arbejdspladsen - især ledelsen - har klare og synlige værdier og holdninger, som formidles både i målsætninger, regler og i praktisk handling. </a:t>
            </a:r>
          </a:p>
          <a:p>
            <a:r>
              <a:rPr lang="da-DK" sz="1800" b="0" i="0" u="none" strike="noStrike" baseline="0" dirty="0">
                <a:solidFill>
                  <a:srgbClr val="000000"/>
                </a:solidFill>
                <a:latin typeface="Calibri" panose="020F0502020204030204" pitchFamily="34" charset="0"/>
              </a:rPr>
              <a:t>Ledere, medarbejdere, tillidsrepræsentanter og arbejdsmiljørepræsentanter, tager ansvar for at bidrage til god trivsel, gode samarbejdsrelationer, en respektfuld omgangstone og tryghed på arbejdspladsen. </a:t>
            </a:r>
          </a:p>
          <a:p>
            <a:r>
              <a:rPr lang="da-DK" sz="1800" b="0" i="0" u="none" strike="noStrike" baseline="0" dirty="0">
                <a:solidFill>
                  <a:srgbClr val="000000"/>
                </a:solidFill>
                <a:latin typeface="Calibri" panose="020F0502020204030204" pitchFamily="34" charset="0"/>
              </a:rPr>
              <a:t>Der løbende arbejdes systematisk og forbyggende, herunder tæt opfølgning ift. håndtering af krænkende handlinger. </a:t>
            </a:r>
          </a:p>
          <a:p>
            <a:endParaRPr lang="da-DK" sz="1800" b="0" i="0" u="none" strike="noStrik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6818089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47942995-B07F-4636-9A06-C6A104B260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34419802-EF9A-3E0F-C0D1-83F001142E0A}"/>
              </a:ext>
            </a:extLst>
          </p:cNvPr>
          <p:cNvSpPr>
            <a:spLocks noGrp="1"/>
          </p:cNvSpPr>
          <p:nvPr>
            <p:ph type="title"/>
          </p:nvPr>
        </p:nvSpPr>
        <p:spPr>
          <a:xfrm>
            <a:off x="1113810" y="2960716"/>
            <a:ext cx="4036334" cy="2387600"/>
          </a:xfrm>
        </p:spPr>
        <p:txBody>
          <a:bodyPr vert="horz" lIns="91440" tIns="45720" rIns="91440" bIns="45720" rtlCol="0" anchor="t">
            <a:normAutofit/>
          </a:bodyPr>
          <a:lstStyle/>
          <a:p>
            <a:r>
              <a:rPr lang="en-US" sz="5400" kern="1200">
                <a:solidFill>
                  <a:schemeClr val="tx1"/>
                </a:solidFill>
                <a:latin typeface="+mj-lt"/>
                <a:ea typeface="+mj-ea"/>
                <a:cs typeface="+mj-cs"/>
              </a:rPr>
              <a:t>Organiserings pjece Frederiksberg</a:t>
            </a:r>
          </a:p>
        </p:txBody>
      </p:sp>
      <p:grpSp>
        <p:nvGrpSpPr>
          <p:cNvPr id="12" name="Group 11">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984992"/>
            <a:ext cx="731521" cy="673460"/>
            <a:chOff x="3940602" y="308034"/>
            <a:chExt cx="2116791" cy="3428999"/>
          </a:xfrm>
          <a:solidFill>
            <a:schemeClr val="accent4"/>
          </a:solidFill>
        </p:grpSpPr>
        <p:sp>
          <p:nvSpPr>
            <p:cNvPr id="13" name="Rectangle 12">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Rectangle 16">
            <a:extLst>
              <a:ext uri="{FF2B5EF4-FFF2-40B4-BE49-F238E27FC236}">
                <a16:creationId xmlns:a16="http://schemas.microsoft.com/office/drawing/2014/main" id="{B81933D1-5615-42C7-9C0B-4EB7105CCE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391886"/>
            <a:ext cx="6009366" cy="6017078"/>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ladsholder til indhold 4" descr="Et billede, der indeholder tekst, tøj, Ansigt, person&#10;&#10;Automatisk genereret beskrivelse">
            <a:extLst>
              <a:ext uri="{FF2B5EF4-FFF2-40B4-BE49-F238E27FC236}">
                <a16:creationId xmlns:a16="http://schemas.microsoft.com/office/drawing/2014/main" id="{A17FA83C-A837-0BD9-5B4E-A717D977908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38956" y="666728"/>
            <a:ext cx="3703072" cy="5465791"/>
          </a:xfrm>
          <a:prstGeom prst="rect">
            <a:avLst/>
          </a:prstGeom>
        </p:spPr>
      </p:pic>
    </p:spTree>
    <p:extLst>
      <p:ext uri="{BB962C8B-B14F-4D97-AF65-F5344CB8AC3E}">
        <p14:creationId xmlns:p14="http://schemas.microsoft.com/office/powerpoint/2010/main" val="37057116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1800" b="1" i="0" u="none" strike="noStrike" baseline="0" dirty="0">
                <a:solidFill>
                  <a:srgbClr val="000000"/>
                </a:solidFill>
                <a:latin typeface="Calibri" panose="020F0502020204030204" pitchFamily="34" charset="0"/>
              </a:rPr>
              <a:t>Anmeldelse af krænkende handlinger som arbejdsulykke </a:t>
            </a:r>
            <a:endParaRPr lang="da-DK"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a:bodyPr>
          <a:lstStyle/>
          <a:p>
            <a:pPr algn="l"/>
            <a:endParaRPr lang="da-DK" sz="1800" b="0" i="0" u="none" strike="noStrike" baseline="0" dirty="0">
              <a:solidFill>
                <a:srgbClr val="000000"/>
              </a:solidFill>
              <a:latin typeface="Symbol" panose="05050102010706020507" pitchFamily="18" charset="2"/>
            </a:endParaRPr>
          </a:p>
          <a:p>
            <a:r>
              <a:rPr lang="da-DK" sz="1800" b="0" i="0" u="none" strike="noStrike" baseline="0" dirty="0">
                <a:solidFill>
                  <a:srgbClr val="000000"/>
                </a:solidFill>
                <a:latin typeface="Calibri" panose="020F0502020204030204" pitchFamily="34" charset="0"/>
              </a:rPr>
              <a:t>En enkeltstående krænkende handling, der har medført fysisk eller psykisk personskade, er en </a:t>
            </a:r>
            <a:r>
              <a:rPr lang="da-DK" sz="1800" b="1" i="0" u="none" strike="noStrike" baseline="0" dirty="0">
                <a:solidFill>
                  <a:srgbClr val="000000"/>
                </a:solidFill>
                <a:latin typeface="Calibri" panose="020F0502020204030204" pitchFamily="34" charset="0"/>
              </a:rPr>
              <a:t>arbejdsulykke</a:t>
            </a:r>
            <a:r>
              <a:rPr lang="da-DK" sz="1800" b="0" i="0" u="none" strike="noStrike" baseline="0" dirty="0">
                <a:solidFill>
                  <a:srgbClr val="000000"/>
                </a:solidFill>
                <a:latin typeface="Calibri" panose="020F0502020204030204" pitchFamily="34" charset="0"/>
              </a:rPr>
              <a:t>. </a:t>
            </a:r>
            <a:r>
              <a:rPr lang="da-DK" sz="1800" b="1" i="0" u="none" strike="noStrike" baseline="0" dirty="0">
                <a:solidFill>
                  <a:srgbClr val="000000"/>
                </a:solidFill>
                <a:latin typeface="Calibri" panose="020F0502020204030204" pitchFamily="34" charset="0"/>
              </a:rPr>
              <a:t>Arbejdsgiveren skal anmelde</a:t>
            </a:r>
            <a:r>
              <a:rPr lang="da-DK" sz="1800" b="0" i="0" u="none" strike="noStrike" baseline="0" dirty="0">
                <a:solidFill>
                  <a:srgbClr val="000000"/>
                </a:solidFill>
                <a:latin typeface="Calibri" panose="020F0502020204030204" pitchFamily="34" charset="0"/>
              </a:rPr>
              <a:t> den som en arbejdsulykke, hvis den medfører fravær ud over den dag, hvor den fandt sted. Anmeldelsen skal ske senest ni dage efter første fraværsdag. Vær opmærksom på, at der kan opstå fravær senere end den dag, hvor den krænkende handling fandt sted, og at arbejdsgiverens anmeldepligt også gælder i disse tilfælde. </a:t>
            </a:r>
          </a:p>
          <a:p>
            <a:r>
              <a:rPr lang="da-DK" sz="1800" b="0" i="0" u="none" strike="noStrike" baseline="0" dirty="0">
                <a:solidFill>
                  <a:srgbClr val="000000"/>
                </a:solidFill>
                <a:latin typeface="Calibri" panose="020F0502020204030204" pitchFamily="34" charset="0"/>
              </a:rPr>
              <a:t>Krænkende handlinger, der har medført fysisk eller psykisk personskade, foregået over længere tid, betragtes det ikke som en arbejdsulykke, men som en </a:t>
            </a:r>
            <a:r>
              <a:rPr lang="da-DK" sz="1800" b="1" i="0" u="none" strike="noStrike" baseline="0" dirty="0">
                <a:solidFill>
                  <a:srgbClr val="000000"/>
                </a:solidFill>
                <a:latin typeface="Calibri" panose="020F0502020204030204" pitchFamily="34" charset="0"/>
              </a:rPr>
              <a:t>erhvervssygdom</a:t>
            </a:r>
            <a:r>
              <a:rPr lang="da-DK" sz="1800" b="0" i="0" u="none" strike="noStrike" baseline="0" dirty="0">
                <a:solidFill>
                  <a:srgbClr val="000000"/>
                </a:solidFill>
                <a:latin typeface="Calibri" panose="020F0502020204030204" pitchFamily="34" charset="0"/>
              </a:rPr>
              <a:t>. I disse tilfælde er </a:t>
            </a:r>
            <a:r>
              <a:rPr lang="da-DK" sz="1800" b="1" i="0" u="none" strike="noStrike" baseline="0" dirty="0">
                <a:solidFill>
                  <a:srgbClr val="000000"/>
                </a:solidFill>
                <a:latin typeface="Calibri" panose="020F0502020204030204" pitchFamily="34" charset="0"/>
              </a:rPr>
              <a:t>det lægen som har anmeldepligten. </a:t>
            </a:r>
          </a:p>
          <a:p>
            <a:endParaRPr lang="da-DK" sz="1800" b="0" i="0" u="none" strike="noStrik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0122174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pPr algn="l"/>
            <a:br>
              <a:rPr lang="da-DK" sz="1800" b="0" i="0" u="none" strike="noStrike" baseline="0" dirty="0">
                <a:solidFill>
                  <a:srgbClr val="000000"/>
                </a:solidFill>
                <a:latin typeface="Calibri" panose="020F0502020204030204" pitchFamily="34" charset="0"/>
              </a:rPr>
            </a:br>
            <a:br>
              <a:rPr lang="da-DK" sz="1800" b="0" i="0" u="none" strike="noStrike" baseline="0" dirty="0">
                <a:solidFill>
                  <a:srgbClr val="000000"/>
                </a:solidFill>
                <a:latin typeface="Calibri" panose="020F0502020204030204" pitchFamily="34" charset="0"/>
              </a:rPr>
            </a:br>
            <a:r>
              <a:rPr lang="da-DK" sz="1800" b="0" i="0" u="none" strike="noStrike" baseline="0" dirty="0">
                <a:solidFill>
                  <a:srgbClr val="000000"/>
                </a:solidFill>
                <a:latin typeface="Calibri" panose="020F0502020204030204" pitchFamily="34" charset="0"/>
              </a:rPr>
              <a:t> </a:t>
            </a:r>
            <a:r>
              <a:rPr lang="da-DK" sz="1800" b="1" i="0" u="none" strike="noStrike" baseline="0" dirty="0">
                <a:solidFill>
                  <a:srgbClr val="000000"/>
                </a:solidFill>
                <a:latin typeface="Calibri" panose="020F0502020204030204" pitchFamily="34" charset="0"/>
              </a:rPr>
              <a:t>Handleberedskab i forbindelse med uønsket seksuel opmærksomhed </a:t>
            </a:r>
            <a:endParaRPr lang="da-DK"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lnSpcReduction="10000"/>
          </a:bodyPr>
          <a:lstStyle/>
          <a:p>
            <a:pPr algn="l"/>
            <a:endParaRPr lang="da-DK" sz="1800" b="0" i="0" u="none" strike="noStrike" baseline="0" dirty="0">
              <a:solidFill>
                <a:srgbClr val="000000"/>
              </a:solidFill>
              <a:latin typeface="Symbol" panose="05050102010706020507" pitchFamily="18" charset="2"/>
            </a:endParaRPr>
          </a:p>
          <a:p>
            <a:pPr algn="l"/>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Hvor går jeg hen som medarbejder, hvis jeg er blevet udsat for uønsket seksuel opmærksomhed? </a:t>
            </a:r>
            <a:r>
              <a:rPr lang="da-DK" sz="1800" b="0" i="0" u="none" strike="noStrike" baseline="0" dirty="0">
                <a:solidFill>
                  <a:srgbClr val="000000"/>
                </a:solidFill>
                <a:latin typeface="Calibri" panose="020F0502020204030204" pitchFamily="34" charset="0"/>
              </a:rPr>
              <a:t>Som medarbejder </a:t>
            </a:r>
            <a:r>
              <a:rPr lang="da-DK" sz="1800" b="0" i="1" u="none" strike="noStrike" baseline="0" dirty="0">
                <a:solidFill>
                  <a:srgbClr val="000000"/>
                </a:solidFill>
                <a:latin typeface="Calibri" panose="020F0502020204030204" pitchFamily="34" charset="0"/>
              </a:rPr>
              <a:t>kan </a:t>
            </a:r>
            <a:r>
              <a:rPr lang="da-DK" sz="1800" b="0" i="0" u="none" strike="noStrike" baseline="0" dirty="0">
                <a:solidFill>
                  <a:srgbClr val="000000"/>
                </a:solidFill>
                <a:latin typeface="Calibri" panose="020F0502020204030204" pitchFamily="34" charset="0"/>
              </a:rPr>
              <a:t>du altid gå til din leder, leders leder, tillidsrepræsentant (TR), fællestillidsrepræsentant (FTR), arbejdsmiljørepræsentant (AMR) eller HR. Du </a:t>
            </a:r>
            <a:r>
              <a:rPr lang="da-DK" sz="1800" b="0" i="1" u="none" strike="noStrike" baseline="0" dirty="0">
                <a:solidFill>
                  <a:srgbClr val="000000"/>
                </a:solidFill>
                <a:latin typeface="Calibri" panose="020F0502020204030204" pitchFamily="34" charset="0"/>
              </a:rPr>
              <a:t>kan </a:t>
            </a:r>
            <a:r>
              <a:rPr lang="da-DK" sz="1800" b="0" i="0" u="none" strike="noStrike" baseline="0" dirty="0">
                <a:solidFill>
                  <a:srgbClr val="000000"/>
                </a:solidFill>
                <a:latin typeface="Calibri" panose="020F0502020204030204" pitchFamily="34" charset="0"/>
              </a:rPr>
              <a:t>også henvende dig til HR-chefen eller kommunaldirektøren. Endelig er der mulighed for at ringe til Arbejdstilsynets hotline på 70 22 12 80. </a:t>
            </a:r>
          </a:p>
          <a:p>
            <a:pPr algn="l"/>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Nultolerance - hvilke konsekvenser kan uønsket seksuel opmærksomhed få for krænkeren? </a:t>
            </a:r>
            <a:r>
              <a:rPr lang="da-DK" sz="1800" b="0" i="0" u="none" strike="noStrike" baseline="0" dirty="0">
                <a:solidFill>
                  <a:srgbClr val="000000"/>
                </a:solidFill>
                <a:latin typeface="Calibri" panose="020F0502020204030204" pitchFamily="34" charset="0"/>
              </a:rPr>
              <a:t>Frederiksberg Kommune har nultolerance i forhold til uønsket seksuel opmærksomhed. Nultolerance betyder, at lederen straks tager hånd om situationen, men sanktionen kan være forskellig fra sag til sag. Nultolerance betyder altså ikke, at det altid vil medføre en ansættelsesretlig sanktion for krænkeren. Du vil ikke, som krænket part, kunne få oplyst, hvilken sanktion det har medført for krænkeren. </a:t>
            </a:r>
          </a:p>
          <a:p>
            <a:pPr marL="0" indent="0">
              <a:buNone/>
            </a:pPr>
            <a:r>
              <a:rPr lang="da-DK" sz="1800" b="0" i="0" u="none" strike="noStrike" baseline="0" dirty="0">
                <a:solidFill>
                  <a:srgbClr val="000000"/>
                </a:solidFill>
                <a:latin typeface="Calibri" panose="020F0502020204030204" pitchFamily="34" charset="0"/>
              </a:rPr>
              <a:t>Krænkeren vil blive bedt om at stoppe den uhensigtsmæssige adfærd øjeblikkeligt. Derudover kan der afhængigt af situationen blive tale om påtale, advarsel, afskedigelse eller bortvisning. Omplacering til andet arbejdssted kan også komme på tale. </a:t>
            </a:r>
          </a:p>
        </p:txBody>
      </p:sp>
    </p:spTree>
    <p:extLst>
      <p:ext uri="{BB962C8B-B14F-4D97-AF65-F5344CB8AC3E}">
        <p14:creationId xmlns:p14="http://schemas.microsoft.com/office/powerpoint/2010/main" val="4754692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C0E97D23-F9CA-46C0-A4FE-5D65019966FE}"/>
              </a:ext>
            </a:extLst>
          </p:cNvPr>
          <p:cNvSpPr>
            <a:spLocks noGrp="1"/>
          </p:cNvSpPr>
          <p:nvPr>
            <p:ph type="ctrTitle"/>
          </p:nvPr>
        </p:nvSpPr>
        <p:spPr>
          <a:xfrm>
            <a:off x="3045368" y="2043663"/>
            <a:ext cx="6105194" cy="2031055"/>
          </a:xfrm>
        </p:spPr>
        <p:txBody>
          <a:bodyPr>
            <a:normAutofit/>
          </a:bodyPr>
          <a:lstStyle/>
          <a:p>
            <a:r>
              <a:rPr lang="da-DK" dirty="0">
                <a:solidFill>
                  <a:srgbClr val="FFFFFF"/>
                </a:solidFill>
              </a:rPr>
              <a:t>Tak for i dag!</a:t>
            </a:r>
            <a:br>
              <a:rPr lang="da-DK" dirty="0">
                <a:solidFill>
                  <a:srgbClr val="FFFFFF"/>
                </a:solidFill>
              </a:rPr>
            </a:br>
            <a:endParaRPr lang="da-DK" dirty="0">
              <a:solidFill>
                <a:srgbClr val="FFFFFF"/>
              </a:solidFill>
            </a:endParaRPr>
          </a:p>
        </p:txBody>
      </p:sp>
      <p:sp>
        <p:nvSpPr>
          <p:cNvPr id="3" name="Undertitel 2">
            <a:extLst>
              <a:ext uri="{FF2B5EF4-FFF2-40B4-BE49-F238E27FC236}">
                <a16:creationId xmlns:a16="http://schemas.microsoft.com/office/drawing/2014/main" id="{6C6918AB-15E2-4003-B44F-568352B03D17}"/>
              </a:ext>
            </a:extLst>
          </p:cNvPr>
          <p:cNvSpPr>
            <a:spLocks noGrp="1"/>
          </p:cNvSpPr>
          <p:nvPr>
            <p:ph type="subTitle" idx="1"/>
          </p:nvPr>
        </p:nvSpPr>
        <p:spPr>
          <a:xfrm>
            <a:off x="3045368" y="4074718"/>
            <a:ext cx="6105194" cy="682079"/>
          </a:xfrm>
        </p:spPr>
        <p:txBody>
          <a:bodyPr>
            <a:normAutofit/>
          </a:bodyPr>
          <a:lstStyle/>
          <a:p>
            <a:r>
              <a:rPr lang="da-DK" dirty="0">
                <a:solidFill>
                  <a:srgbClr val="FFFFFF"/>
                </a:solidFill>
                <a:sym typeface="Wingdings" panose="05000000000000000000" pitchFamily="2" charset="2"/>
              </a:rPr>
              <a:t></a:t>
            </a:r>
            <a:endParaRPr lang="da-DK" dirty="0">
              <a:solidFill>
                <a:srgbClr val="FFFFFF"/>
              </a:solidFill>
            </a:endParaRPr>
          </a:p>
        </p:txBody>
      </p:sp>
    </p:spTree>
    <p:extLst>
      <p:ext uri="{BB962C8B-B14F-4D97-AF65-F5344CB8AC3E}">
        <p14:creationId xmlns:p14="http://schemas.microsoft.com/office/powerpoint/2010/main" val="1577678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3C54F4CE-85F0-46ED-80DA-9518C9251A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DADD1FCA-8ACB-4958-81DD-4CDD6D3E19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802086" cy="6858000"/>
          </a:xfrm>
          <a:custGeom>
            <a:avLst/>
            <a:gdLst>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9647 w 5734864"/>
              <a:gd name="connsiteY33" fmla="*/ 1936120 h 6858000"/>
              <a:gd name="connsiteX34" fmla="*/ 714660 w 5734864"/>
              <a:gd name="connsiteY34" fmla="*/ 1982709 h 6858000"/>
              <a:gd name="connsiteX35" fmla="*/ 710759 w 5734864"/>
              <a:gd name="connsiteY35" fmla="*/ 2013010 h 6858000"/>
              <a:gd name="connsiteX36" fmla="*/ 697927 w 5734864"/>
              <a:gd name="connsiteY36" fmla="*/ 2069833 h 6858000"/>
              <a:gd name="connsiteX37" fmla="*/ 693594 w 5734864"/>
              <a:gd name="connsiteY37" fmla="*/ 2103731 h 6858000"/>
              <a:gd name="connsiteX38" fmla="*/ 691109 w 5734864"/>
              <a:gd name="connsiteY38" fmla="*/ 2124027 h 6858000"/>
              <a:gd name="connsiteX39" fmla="*/ 676593 w 5734864"/>
              <a:gd name="connsiteY39" fmla="*/ 2176182 h 6858000"/>
              <a:gd name="connsiteX40" fmla="*/ 633227 w 5734864"/>
              <a:gd name="connsiteY40" fmla="*/ 2258036 h 6858000"/>
              <a:gd name="connsiteX41" fmla="*/ 625564 w 5734864"/>
              <a:gd name="connsiteY41" fmla="*/ 2284567 h 6858000"/>
              <a:gd name="connsiteX42" fmla="*/ 627074 w 5734864"/>
              <a:gd name="connsiteY42" fmla="*/ 2289605 h 6858000"/>
              <a:gd name="connsiteX43" fmla="*/ 614574 w 5734864"/>
              <a:gd name="connsiteY43" fmla="*/ 2308717 h 6858000"/>
              <a:gd name="connsiteX44" fmla="*/ 606890 w 5734864"/>
              <a:gd name="connsiteY44" fmla="*/ 2320662 h 6858000"/>
              <a:gd name="connsiteX45" fmla="*/ 605558 w 5734864"/>
              <a:gd name="connsiteY45" fmla="*/ 2327897 h 6858000"/>
              <a:gd name="connsiteX46" fmla="*/ 602202 w 5734864"/>
              <a:gd name="connsiteY46" fmla="*/ 2357749 h 6858000"/>
              <a:gd name="connsiteX47" fmla="*/ 600213 w 5734864"/>
              <a:gd name="connsiteY47" fmla="*/ 2364905 h 6858000"/>
              <a:gd name="connsiteX48" fmla="*/ 597160 w 5734864"/>
              <a:gd name="connsiteY48" fmla="*/ 2388351 h 6858000"/>
              <a:gd name="connsiteX49" fmla="*/ 597982 w 5734864"/>
              <a:gd name="connsiteY49" fmla="*/ 2402296 h 6858000"/>
              <a:gd name="connsiteX50" fmla="*/ 593150 w 5734864"/>
              <a:gd name="connsiteY50" fmla="*/ 2420015 h 6858000"/>
              <a:gd name="connsiteX51" fmla="*/ 592833 w 5734864"/>
              <a:gd name="connsiteY51" fmla="*/ 2422749 h 6858000"/>
              <a:gd name="connsiteX52" fmla="*/ 594479 w 5734864"/>
              <a:gd name="connsiteY52" fmla="*/ 2426002 h 6858000"/>
              <a:gd name="connsiteX53" fmla="*/ 591963 w 5734864"/>
              <a:gd name="connsiteY53" fmla="*/ 2431950 h 6858000"/>
              <a:gd name="connsiteX54" fmla="*/ 591544 w 5734864"/>
              <a:gd name="connsiteY54" fmla="*/ 2433897 h 6858000"/>
              <a:gd name="connsiteX55" fmla="*/ 589519 w 5734864"/>
              <a:gd name="connsiteY55" fmla="*/ 2451398 h 6858000"/>
              <a:gd name="connsiteX56" fmla="*/ 590037 w 5734864"/>
              <a:gd name="connsiteY56" fmla="*/ 2455536 h 6858000"/>
              <a:gd name="connsiteX57" fmla="*/ 588179 w 5734864"/>
              <a:gd name="connsiteY57" fmla="*/ 2462981 h 6858000"/>
              <a:gd name="connsiteX58" fmla="*/ 583434 w 5734864"/>
              <a:gd name="connsiteY58" fmla="*/ 2503991 h 6858000"/>
              <a:gd name="connsiteX59" fmla="*/ 567942 w 5734864"/>
              <a:gd name="connsiteY59" fmla="*/ 2652936 h 6858000"/>
              <a:gd name="connsiteX60" fmla="*/ 573869 w 5734864"/>
              <a:gd name="connsiteY60" fmla="*/ 2670188 h 6858000"/>
              <a:gd name="connsiteX61" fmla="*/ 575243 w 5734864"/>
              <a:gd name="connsiteY61" fmla="*/ 2688114 h 6858000"/>
              <a:gd name="connsiteX62" fmla="*/ 573824 w 5734864"/>
              <a:gd name="connsiteY62" fmla="*/ 2689856 h 6858000"/>
              <a:gd name="connsiteX63" fmla="*/ 570699 w 5734864"/>
              <a:gd name="connsiteY63" fmla="*/ 2709353 h 6858000"/>
              <a:gd name="connsiteX64" fmla="*/ 573192 w 5734864"/>
              <a:gd name="connsiteY64" fmla="*/ 2714527 h 6858000"/>
              <a:gd name="connsiteX65" fmla="*/ 572044 w 5734864"/>
              <a:gd name="connsiteY65" fmla="*/ 2728187 h 6858000"/>
              <a:gd name="connsiteX66" fmla="*/ 572465 w 5734864"/>
              <a:gd name="connsiteY66" fmla="*/ 2755863 h 6858000"/>
              <a:gd name="connsiteX67" fmla="*/ 570028 w 5734864"/>
              <a:gd name="connsiteY67" fmla="*/ 2760324 h 6858000"/>
              <a:gd name="connsiteX68" fmla="*/ 566748 w 5734864"/>
              <a:gd name="connsiteY68" fmla="*/ 2800948 h 6858000"/>
              <a:gd name="connsiteX69" fmla="*/ 565509 w 5734864"/>
              <a:gd name="connsiteY69" fmla="*/ 2801167 h 6858000"/>
              <a:gd name="connsiteX70" fmla="*/ 559367 w 5734864"/>
              <a:gd name="connsiteY70" fmla="*/ 2811129 h 6858000"/>
              <a:gd name="connsiteX71" fmla="*/ 550354 w 5734864"/>
              <a:gd name="connsiteY71" fmla="*/ 2830949 h 6858000"/>
              <a:gd name="connsiteX72" fmla="*/ 514795 w 5734864"/>
              <a:gd name="connsiteY72" fmla="*/ 2872433 h 6858000"/>
              <a:gd name="connsiteX73" fmla="*/ 509875 w 5734864"/>
              <a:gd name="connsiteY73" fmla="*/ 2923099 h 6858000"/>
              <a:gd name="connsiteX74" fmla="*/ 509577 w 5734864"/>
              <a:gd name="connsiteY74" fmla="*/ 2923197 h 6858000"/>
              <a:gd name="connsiteX75" fmla="*/ 507597 w 5734864"/>
              <a:gd name="connsiteY75" fmla="*/ 2931868 h 6858000"/>
              <a:gd name="connsiteX76" fmla="*/ 507379 w 5734864"/>
              <a:gd name="connsiteY76" fmla="*/ 2938322 h 6858000"/>
              <a:gd name="connsiteX77" fmla="*/ 504725 w 5734864"/>
              <a:gd name="connsiteY77" fmla="*/ 2954519 h 6858000"/>
              <a:gd name="connsiteX78" fmla="*/ 502018 w 5734864"/>
              <a:gd name="connsiteY78" fmla="*/ 2959643 h 6858000"/>
              <a:gd name="connsiteX79" fmla="*/ 498360 w 5734864"/>
              <a:gd name="connsiteY79" fmla="*/ 2961019 h 6858000"/>
              <a:gd name="connsiteX80" fmla="*/ 498483 w 5734864"/>
              <a:gd name="connsiteY80" fmla="*/ 2962590 h 6858000"/>
              <a:gd name="connsiteX81" fmla="*/ 484403 w 5734864"/>
              <a:gd name="connsiteY81" fmla="*/ 2990538 h 6858000"/>
              <a:gd name="connsiteX82" fmla="*/ 463075 w 5734864"/>
              <a:gd name="connsiteY82" fmla="*/ 3055956 h 6858000"/>
              <a:gd name="connsiteX83" fmla="*/ 455013 w 5734864"/>
              <a:gd name="connsiteY83" fmla="*/ 3094482 h 6858000"/>
              <a:gd name="connsiteX84" fmla="*/ 428391 w 5734864"/>
              <a:gd name="connsiteY84" fmla="*/ 3198850 h 6858000"/>
              <a:gd name="connsiteX85" fmla="*/ 401440 w 5734864"/>
              <a:gd name="connsiteY85" fmla="*/ 3307560 h 6858000"/>
              <a:gd name="connsiteX86" fmla="*/ 386076 w 5734864"/>
              <a:gd name="connsiteY86" fmla="*/ 3373943 h 6858000"/>
              <a:gd name="connsiteX87" fmla="*/ 374726 w 5734864"/>
              <a:gd name="connsiteY87" fmla="*/ 3381364 h 6858000"/>
              <a:gd name="connsiteX88" fmla="*/ 369145 w 5734864"/>
              <a:gd name="connsiteY88" fmla="*/ 3383729 h 6858000"/>
              <a:gd name="connsiteX89" fmla="*/ 364294 w 5734864"/>
              <a:gd name="connsiteY89" fmla="*/ 3414159 h 6858000"/>
              <a:gd name="connsiteX90" fmla="*/ 366450 w 5734864"/>
              <a:gd name="connsiteY90" fmla="*/ 3436925 h 6858000"/>
              <a:gd name="connsiteX91" fmla="*/ 351743 w 5734864"/>
              <a:gd name="connsiteY91" fmla="*/ 3521619 h 6858000"/>
              <a:gd name="connsiteX92" fmla="*/ 345784 w 5734864"/>
              <a:gd name="connsiteY92" fmla="*/ 3603757 h 6858000"/>
              <a:gd name="connsiteX93" fmla="*/ 344198 w 5734864"/>
              <a:gd name="connsiteY93" fmla="*/ 3652424 h 6858000"/>
              <a:gd name="connsiteX94" fmla="*/ 352450 w 5734864"/>
              <a:gd name="connsiteY94" fmla="*/ 3665222 h 6858000"/>
              <a:gd name="connsiteX95" fmla="*/ 342621 w 5734864"/>
              <a:gd name="connsiteY95" fmla="*/ 3700804 h 6858000"/>
              <a:gd name="connsiteX96" fmla="*/ 341514 w 5734864"/>
              <a:gd name="connsiteY96" fmla="*/ 3734774 h 6858000"/>
              <a:gd name="connsiteX97" fmla="*/ 340607 w 5734864"/>
              <a:gd name="connsiteY97" fmla="*/ 3785153 h 6858000"/>
              <a:gd name="connsiteX98" fmla="*/ 340707 w 5734864"/>
              <a:gd name="connsiteY98" fmla="*/ 3788177 h 6858000"/>
              <a:gd name="connsiteX99" fmla="*/ 340361 w 5734864"/>
              <a:gd name="connsiteY99" fmla="*/ 3798803 h 6858000"/>
              <a:gd name="connsiteX100" fmla="*/ 339642 w 5734864"/>
              <a:gd name="connsiteY100" fmla="*/ 3838750 h 6858000"/>
              <a:gd name="connsiteX101" fmla="*/ 360295 w 5734864"/>
              <a:gd name="connsiteY101" fmla="*/ 4015196 h 6858000"/>
              <a:gd name="connsiteX102" fmla="*/ 339043 w 5734864"/>
              <a:gd name="connsiteY102" fmla="*/ 4052778 h 6858000"/>
              <a:gd name="connsiteX103" fmla="*/ 339343 w 5734864"/>
              <a:gd name="connsiteY103" fmla="*/ 4096257 h 6858000"/>
              <a:gd name="connsiteX104" fmla="*/ 340786 w 5734864"/>
              <a:gd name="connsiteY104" fmla="*/ 4321136 h 6858000"/>
              <a:gd name="connsiteX105" fmla="*/ 343158 w 5734864"/>
              <a:gd name="connsiteY105" fmla="*/ 4429174 h 6858000"/>
              <a:gd name="connsiteX106" fmla="*/ 334599 w 5734864"/>
              <a:gd name="connsiteY106" fmla="*/ 4449938 h 6858000"/>
              <a:gd name="connsiteX107" fmla="*/ 332890 w 5734864"/>
              <a:gd name="connsiteY107" fmla="*/ 4453515 h 6858000"/>
              <a:gd name="connsiteX108" fmla="*/ 331105 w 5734864"/>
              <a:gd name="connsiteY108" fmla="*/ 4467941 h 6858000"/>
              <a:gd name="connsiteX109" fmla="*/ 324289 w 5734864"/>
              <a:gd name="connsiteY109" fmla="*/ 4471861 h 6858000"/>
              <a:gd name="connsiteX110" fmla="*/ 317079 w 5734864"/>
              <a:gd name="connsiteY110" fmla="*/ 4493468 h 6858000"/>
              <a:gd name="connsiteX111" fmla="*/ 315557 w 5734864"/>
              <a:gd name="connsiteY111" fmla="*/ 4520067 h 6858000"/>
              <a:gd name="connsiteX112" fmla="*/ 315240 w 5734864"/>
              <a:gd name="connsiteY112" fmla="*/ 4536872 h 6858000"/>
              <a:gd name="connsiteX113" fmla="*/ 316200 w 5734864"/>
              <a:gd name="connsiteY113" fmla="*/ 4538297 h 6858000"/>
              <a:gd name="connsiteX114" fmla="*/ 317507 w 5734864"/>
              <a:gd name="connsiteY114" fmla="*/ 4547582 h 6858000"/>
              <a:gd name="connsiteX115" fmla="*/ 323078 w 5734864"/>
              <a:gd name="connsiteY115" fmla="*/ 4592102 h 6858000"/>
              <a:gd name="connsiteX116" fmla="*/ 328722 w 5734864"/>
              <a:gd name="connsiteY116" fmla="*/ 4667914 h 6858000"/>
              <a:gd name="connsiteX117" fmla="*/ 335597 w 5734864"/>
              <a:gd name="connsiteY117" fmla="*/ 4695035 h 6858000"/>
              <a:gd name="connsiteX118" fmla="*/ 339485 w 5734864"/>
              <a:gd name="connsiteY118" fmla="*/ 4695979 h 6858000"/>
              <a:gd name="connsiteX119" fmla="*/ 341089 w 5734864"/>
              <a:gd name="connsiteY119" fmla="*/ 4704268 h 6858000"/>
              <a:gd name="connsiteX120" fmla="*/ 342177 w 5734864"/>
              <a:gd name="connsiteY120" fmla="*/ 4706060 h 6858000"/>
              <a:gd name="connsiteX121" fmla="*/ 347751 w 5734864"/>
              <a:gd name="connsiteY121" fmla="*/ 4716754 h 6858000"/>
              <a:gd name="connsiteX122" fmla="*/ 344125 w 5734864"/>
              <a:gd name="connsiteY122" fmla="*/ 4764669 h 6858000"/>
              <a:gd name="connsiteX123" fmla="*/ 340188 w 5734864"/>
              <a:gd name="connsiteY123" fmla="*/ 4779386 h 6858000"/>
              <a:gd name="connsiteX124" fmla="*/ 335146 w 5734864"/>
              <a:gd name="connsiteY124" fmla="*/ 4787491 h 6858000"/>
              <a:gd name="connsiteX125" fmla="*/ 319124 w 5734864"/>
              <a:gd name="connsiteY125" fmla="*/ 4843514 h 6858000"/>
              <a:gd name="connsiteX126" fmla="*/ 305956 w 5734864"/>
              <a:gd name="connsiteY126" fmla="*/ 4881505 h 6858000"/>
              <a:gd name="connsiteX127" fmla="*/ 301062 w 5734864"/>
              <a:gd name="connsiteY127" fmla="*/ 4889332 h 6858000"/>
              <a:gd name="connsiteX128" fmla="*/ 302141 w 5734864"/>
              <a:gd name="connsiteY128" fmla="*/ 4899400 h 6858000"/>
              <a:gd name="connsiteX129" fmla="*/ 304424 w 5734864"/>
              <a:gd name="connsiteY129" fmla="*/ 4902664 h 6858000"/>
              <a:gd name="connsiteX130" fmla="*/ 293123 w 5734864"/>
              <a:gd name="connsiteY130" fmla="*/ 4932769 h 6858000"/>
              <a:gd name="connsiteX131" fmla="*/ 292275 w 5734864"/>
              <a:gd name="connsiteY131" fmla="*/ 4936482 h 6858000"/>
              <a:gd name="connsiteX132" fmla="*/ 288304 w 5734864"/>
              <a:gd name="connsiteY132" fmla="*/ 4962325 h 6858000"/>
              <a:gd name="connsiteX133" fmla="*/ 287420 w 5734864"/>
              <a:gd name="connsiteY133" fmla="*/ 5042193 h 6858000"/>
              <a:gd name="connsiteX134" fmla="*/ 287020 w 5734864"/>
              <a:gd name="connsiteY134" fmla="*/ 5065655 h 6858000"/>
              <a:gd name="connsiteX135" fmla="*/ 288488 w 5734864"/>
              <a:gd name="connsiteY135" fmla="*/ 5082216 h 6858000"/>
              <a:gd name="connsiteX136" fmla="*/ 282763 w 5734864"/>
              <a:gd name="connsiteY136" fmla="*/ 5127114 h 6858000"/>
              <a:gd name="connsiteX137" fmla="*/ 269316 w 5734864"/>
              <a:gd name="connsiteY137" fmla="*/ 5202682 h 6858000"/>
              <a:gd name="connsiteX138" fmla="*/ 269174 w 5734864"/>
              <a:gd name="connsiteY138" fmla="*/ 5230835 h 6858000"/>
              <a:gd name="connsiteX139" fmla="*/ 272679 w 5734864"/>
              <a:gd name="connsiteY139" fmla="*/ 5232660 h 6858000"/>
              <a:gd name="connsiteX140" fmla="*/ 272160 w 5734864"/>
              <a:gd name="connsiteY140" fmla="*/ 5241150 h 6858000"/>
              <a:gd name="connsiteX141" fmla="*/ 272760 w 5734864"/>
              <a:gd name="connsiteY141" fmla="*/ 5243156 h 6858000"/>
              <a:gd name="connsiteX142" fmla="*/ 275462 w 5734864"/>
              <a:gd name="connsiteY142" fmla="*/ 5254919 h 6858000"/>
              <a:gd name="connsiteX143" fmla="*/ 262897 w 5734864"/>
              <a:gd name="connsiteY143" fmla="*/ 5286259 h 6858000"/>
              <a:gd name="connsiteX144" fmla="*/ 252761 w 5734864"/>
              <a:gd name="connsiteY144" fmla="*/ 5357801 h 6858000"/>
              <a:gd name="connsiteX145" fmla="*/ 242360 w 5734864"/>
              <a:gd name="connsiteY145" fmla="*/ 5460080 h 6858000"/>
              <a:gd name="connsiteX146" fmla="*/ 229880 w 5734864"/>
              <a:gd name="connsiteY146" fmla="*/ 5539714 h 6858000"/>
              <a:gd name="connsiteX147" fmla="*/ 204283 w 5734864"/>
              <a:gd name="connsiteY147" fmla="*/ 5639080 h 6858000"/>
              <a:gd name="connsiteX148" fmla="*/ 198948 w 5734864"/>
              <a:gd name="connsiteY148" fmla="*/ 5710958 h 6858000"/>
              <a:gd name="connsiteX149" fmla="*/ 192367 w 5734864"/>
              <a:gd name="connsiteY149" fmla="*/ 5719859 h 6858000"/>
              <a:gd name="connsiteX150" fmla="*/ 188035 w 5734864"/>
              <a:gd name="connsiteY150" fmla="*/ 5729935 h 6858000"/>
              <a:gd name="connsiteX151" fmla="*/ 188428 w 5734864"/>
              <a:gd name="connsiteY151" fmla="*/ 5731182 h 6858000"/>
              <a:gd name="connsiteX152" fmla="*/ 181635 w 5734864"/>
              <a:gd name="connsiteY152" fmla="*/ 5753538 h 6858000"/>
              <a:gd name="connsiteX153" fmla="*/ 169744 w 5734864"/>
              <a:gd name="connsiteY153" fmla="*/ 5796307 h 6858000"/>
              <a:gd name="connsiteX154" fmla="*/ 170351 w 5734864"/>
              <a:gd name="connsiteY154" fmla="*/ 5796644 h 6858000"/>
              <a:gd name="connsiteX155" fmla="*/ 171559 w 5734864"/>
              <a:gd name="connsiteY155" fmla="*/ 5803435 h 6858000"/>
              <a:gd name="connsiteX156" fmla="*/ 172284 w 5734864"/>
              <a:gd name="connsiteY156" fmla="*/ 5816391 h 6858000"/>
              <a:gd name="connsiteX157" fmla="*/ 182542 w 5734864"/>
              <a:gd name="connsiteY157" fmla="*/ 5846382 h 6858000"/>
              <a:gd name="connsiteX158" fmla="*/ 175877 w 5734864"/>
              <a:gd name="connsiteY158" fmla="*/ 5871336 h 6858000"/>
              <a:gd name="connsiteX159" fmla="*/ 174910 w 5734864"/>
              <a:gd name="connsiteY159" fmla="*/ 5876376 h 6858000"/>
              <a:gd name="connsiteX160" fmla="*/ 175047 w 5734864"/>
              <a:gd name="connsiteY160" fmla="*/ 5876483 h 6858000"/>
              <a:gd name="connsiteX161" fmla="*/ 174335 w 5734864"/>
              <a:gd name="connsiteY161" fmla="*/ 5881814 h 6858000"/>
              <a:gd name="connsiteX162" fmla="*/ 171273 w 5734864"/>
              <a:gd name="connsiteY162" fmla="*/ 5895339 h 6858000"/>
              <a:gd name="connsiteX163" fmla="*/ 171658 w 5734864"/>
              <a:gd name="connsiteY163" fmla="*/ 5898749 h 6858000"/>
              <a:gd name="connsiteX164" fmla="*/ 174658 w 5734864"/>
              <a:gd name="connsiteY164" fmla="*/ 5919558 h 6858000"/>
              <a:gd name="connsiteX165" fmla="*/ 169099 w 5734864"/>
              <a:gd name="connsiteY165" fmla="*/ 5984417 h 6858000"/>
              <a:gd name="connsiteX166" fmla="*/ 162007 w 5734864"/>
              <a:gd name="connsiteY166" fmla="*/ 6049043 h 6858000"/>
              <a:gd name="connsiteX167" fmla="*/ 156875 w 5734864"/>
              <a:gd name="connsiteY167" fmla="*/ 6114000 h 6858000"/>
              <a:gd name="connsiteX168" fmla="*/ 165441 w 5734864"/>
              <a:gd name="connsiteY168" fmla="*/ 6146938 h 6858000"/>
              <a:gd name="connsiteX169" fmla="*/ 165177 w 5734864"/>
              <a:gd name="connsiteY169" fmla="*/ 6150658 h 6858000"/>
              <a:gd name="connsiteX170" fmla="*/ 161772 w 5734864"/>
              <a:gd name="connsiteY170" fmla="*/ 6160011 h 6858000"/>
              <a:gd name="connsiteX171" fmla="*/ 160051 w 5734864"/>
              <a:gd name="connsiteY171" fmla="*/ 6163393 h 6858000"/>
              <a:gd name="connsiteX172" fmla="*/ 158473 w 5734864"/>
              <a:gd name="connsiteY172" fmla="*/ 6168628 h 6858000"/>
              <a:gd name="connsiteX173" fmla="*/ 158573 w 5734864"/>
              <a:gd name="connsiteY173" fmla="*/ 6168799 h 6858000"/>
              <a:gd name="connsiteX174" fmla="*/ 146463 w 5734864"/>
              <a:gd name="connsiteY174" fmla="*/ 6196671 h 6858000"/>
              <a:gd name="connsiteX175" fmla="*/ 150209 w 5734864"/>
              <a:gd name="connsiteY175" fmla="*/ 6232365 h 6858000"/>
              <a:gd name="connsiteX176" fmla="*/ 148544 w 5734864"/>
              <a:gd name="connsiteY176" fmla="*/ 6246162 h 6858000"/>
              <a:gd name="connsiteX177" fmla="*/ 148403 w 5734864"/>
              <a:gd name="connsiteY177" fmla="*/ 6253754 h 6858000"/>
              <a:gd name="connsiteX178" fmla="*/ 138880 w 5734864"/>
              <a:gd name="connsiteY178" fmla="*/ 6276449 h 6858000"/>
              <a:gd name="connsiteX179" fmla="*/ 138683 w 5734864"/>
              <a:gd name="connsiteY179" fmla="*/ 6279721 h 6858000"/>
              <a:gd name="connsiteX180" fmla="*/ 130721 w 5734864"/>
              <a:gd name="connsiteY180" fmla="*/ 6293675 h 6858000"/>
              <a:gd name="connsiteX181" fmla="*/ 120717 w 5734864"/>
              <a:gd name="connsiteY181" fmla="*/ 6313967 h 6858000"/>
              <a:gd name="connsiteX182" fmla="*/ 120841 w 5734864"/>
              <a:gd name="connsiteY182" fmla="*/ 6315437 h 6858000"/>
              <a:gd name="connsiteX183" fmla="*/ 115208 w 5734864"/>
              <a:gd name="connsiteY183" fmla="*/ 6324024 h 6858000"/>
              <a:gd name="connsiteX184" fmla="*/ 101217 w 5734864"/>
              <a:gd name="connsiteY184" fmla="*/ 6365923 h 6858000"/>
              <a:gd name="connsiteX185" fmla="*/ 74946 w 5734864"/>
              <a:gd name="connsiteY185" fmla="*/ 6556817 h 6858000"/>
              <a:gd name="connsiteX186" fmla="*/ 16001 w 5734864"/>
              <a:gd name="connsiteY186" fmla="*/ 6808678 h 6858000"/>
              <a:gd name="connsiteX187" fmla="*/ 0 w 5734864"/>
              <a:gd name="connsiteY187" fmla="*/ 6858000 h 6858000"/>
              <a:gd name="connsiteX188" fmla="*/ 5734864 w 5734864"/>
              <a:gd name="connsiteY188" fmla="*/ 685800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4660 w 5734864"/>
              <a:gd name="connsiteY33" fmla="*/ 1982709 h 6858000"/>
              <a:gd name="connsiteX34" fmla="*/ 710759 w 5734864"/>
              <a:gd name="connsiteY34" fmla="*/ 2013010 h 6858000"/>
              <a:gd name="connsiteX35" fmla="*/ 697927 w 5734864"/>
              <a:gd name="connsiteY35" fmla="*/ 2069833 h 6858000"/>
              <a:gd name="connsiteX36" fmla="*/ 693594 w 5734864"/>
              <a:gd name="connsiteY36" fmla="*/ 2103731 h 6858000"/>
              <a:gd name="connsiteX37" fmla="*/ 691109 w 5734864"/>
              <a:gd name="connsiteY37" fmla="*/ 2124027 h 6858000"/>
              <a:gd name="connsiteX38" fmla="*/ 676593 w 5734864"/>
              <a:gd name="connsiteY38" fmla="*/ 2176182 h 6858000"/>
              <a:gd name="connsiteX39" fmla="*/ 633227 w 5734864"/>
              <a:gd name="connsiteY39" fmla="*/ 2258036 h 6858000"/>
              <a:gd name="connsiteX40" fmla="*/ 625564 w 5734864"/>
              <a:gd name="connsiteY40" fmla="*/ 2284567 h 6858000"/>
              <a:gd name="connsiteX41" fmla="*/ 627074 w 5734864"/>
              <a:gd name="connsiteY41" fmla="*/ 2289605 h 6858000"/>
              <a:gd name="connsiteX42" fmla="*/ 614574 w 5734864"/>
              <a:gd name="connsiteY42" fmla="*/ 2308717 h 6858000"/>
              <a:gd name="connsiteX43" fmla="*/ 606890 w 5734864"/>
              <a:gd name="connsiteY43" fmla="*/ 2320662 h 6858000"/>
              <a:gd name="connsiteX44" fmla="*/ 605558 w 5734864"/>
              <a:gd name="connsiteY44" fmla="*/ 2327897 h 6858000"/>
              <a:gd name="connsiteX45" fmla="*/ 602202 w 5734864"/>
              <a:gd name="connsiteY45" fmla="*/ 2357749 h 6858000"/>
              <a:gd name="connsiteX46" fmla="*/ 600213 w 5734864"/>
              <a:gd name="connsiteY46" fmla="*/ 2364905 h 6858000"/>
              <a:gd name="connsiteX47" fmla="*/ 597160 w 5734864"/>
              <a:gd name="connsiteY47" fmla="*/ 2388351 h 6858000"/>
              <a:gd name="connsiteX48" fmla="*/ 597982 w 5734864"/>
              <a:gd name="connsiteY48" fmla="*/ 2402296 h 6858000"/>
              <a:gd name="connsiteX49" fmla="*/ 593150 w 5734864"/>
              <a:gd name="connsiteY49" fmla="*/ 2420015 h 6858000"/>
              <a:gd name="connsiteX50" fmla="*/ 592833 w 5734864"/>
              <a:gd name="connsiteY50" fmla="*/ 2422749 h 6858000"/>
              <a:gd name="connsiteX51" fmla="*/ 594479 w 5734864"/>
              <a:gd name="connsiteY51" fmla="*/ 2426002 h 6858000"/>
              <a:gd name="connsiteX52" fmla="*/ 591963 w 5734864"/>
              <a:gd name="connsiteY52" fmla="*/ 2431950 h 6858000"/>
              <a:gd name="connsiteX53" fmla="*/ 591544 w 5734864"/>
              <a:gd name="connsiteY53" fmla="*/ 2433897 h 6858000"/>
              <a:gd name="connsiteX54" fmla="*/ 589519 w 5734864"/>
              <a:gd name="connsiteY54" fmla="*/ 2451398 h 6858000"/>
              <a:gd name="connsiteX55" fmla="*/ 590037 w 5734864"/>
              <a:gd name="connsiteY55" fmla="*/ 2455536 h 6858000"/>
              <a:gd name="connsiteX56" fmla="*/ 588179 w 5734864"/>
              <a:gd name="connsiteY56" fmla="*/ 2462981 h 6858000"/>
              <a:gd name="connsiteX57" fmla="*/ 583434 w 5734864"/>
              <a:gd name="connsiteY57" fmla="*/ 2503991 h 6858000"/>
              <a:gd name="connsiteX58" fmla="*/ 567942 w 5734864"/>
              <a:gd name="connsiteY58" fmla="*/ 2652936 h 6858000"/>
              <a:gd name="connsiteX59" fmla="*/ 573869 w 5734864"/>
              <a:gd name="connsiteY59" fmla="*/ 2670188 h 6858000"/>
              <a:gd name="connsiteX60" fmla="*/ 575243 w 5734864"/>
              <a:gd name="connsiteY60" fmla="*/ 2688114 h 6858000"/>
              <a:gd name="connsiteX61" fmla="*/ 573824 w 5734864"/>
              <a:gd name="connsiteY61" fmla="*/ 2689856 h 6858000"/>
              <a:gd name="connsiteX62" fmla="*/ 570699 w 5734864"/>
              <a:gd name="connsiteY62" fmla="*/ 2709353 h 6858000"/>
              <a:gd name="connsiteX63" fmla="*/ 573192 w 5734864"/>
              <a:gd name="connsiteY63" fmla="*/ 2714527 h 6858000"/>
              <a:gd name="connsiteX64" fmla="*/ 572044 w 5734864"/>
              <a:gd name="connsiteY64" fmla="*/ 2728187 h 6858000"/>
              <a:gd name="connsiteX65" fmla="*/ 572465 w 5734864"/>
              <a:gd name="connsiteY65" fmla="*/ 2755863 h 6858000"/>
              <a:gd name="connsiteX66" fmla="*/ 570028 w 5734864"/>
              <a:gd name="connsiteY66" fmla="*/ 2760324 h 6858000"/>
              <a:gd name="connsiteX67" fmla="*/ 566748 w 5734864"/>
              <a:gd name="connsiteY67" fmla="*/ 2800948 h 6858000"/>
              <a:gd name="connsiteX68" fmla="*/ 565509 w 5734864"/>
              <a:gd name="connsiteY68" fmla="*/ 2801167 h 6858000"/>
              <a:gd name="connsiteX69" fmla="*/ 559367 w 5734864"/>
              <a:gd name="connsiteY69" fmla="*/ 2811129 h 6858000"/>
              <a:gd name="connsiteX70" fmla="*/ 550354 w 5734864"/>
              <a:gd name="connsiteY70" fmla="*/ 2830949 h 6858000"/>
              <a:gd name="connsiteX71" fmla="*/ 514795 w 5734864"/>
              <a:gd name="connsiteY71" fmla="*/ 2872433 h 6858000"/>
              <a:gd name="connsiteX72" fmla="*/ 509875 w 5734864"/>
              <a:gd name="connsiteY72" fmla="*/ 2923099 h 6858000"/>
              <a:gd name="connsiteX73" fmla="*/ 509577 w 5734864"/>
              <a:gd name="connsiteY73" fmla="*/ 2923197 h 6858000"/>
              <a:gd name="connsiteX74" fmla="*/ 507597 w 5734864"/>
              <a:gd name="connsiteY74" fmla="*/ 2931868 h 6858000"/>
              <a:gd name="connsiteX75" fmla="*/ 507379 w 5734864"/>
              <a:gd name="connsiteY75" fmla="*/ 2938322 h 6858000"/>
              <a:gd name="connsiteX76" fmla="*/ 504725 w 5734864"/>
              <a:gd name="connsiteY76" fmla="*/ 2954519 h 6858000"/>
              <a:gd name="connsiteX77" fmla="*/ 502018 w 5734864"/>
              <a:gd name="connsiteY77" fmla="*/ 2959643 h 6858000"/>
              <a:gd name="connsiteX78" fmla="*/ 498360 w 5734864"/>
              <a:gd name="connsiteY78" fmla="*/ 2961019 h 6858000"/>
              <a:gd name="connsiteX79" fmla="*/ 498483 w 5734864"/>
              <a:gd name="connsiteY79" fmla="*/ 2962590 h 6858000"/>
              <a:gd name="connsiteX80" fmla="*/ 484403 w 5734864"/>
              <a:gd name="connsiteY80" fmla="*/ 2990538 h 6858000"/>
              <a:gd name="connsiteX81" fmla="*/ 463075 w 5734864"/>
              <a:gd name="connsiteY81" fmla="*/ 3055956 h 6858000"/>
              <a:gd name="connsiteX82" fmla="*/ 455013 w 5734864"/>
              <a:gd name="connsiteY82" fmla="*/ 3094482 h 6858000"/>
              <a:gd name="connsiteX83" fmla="*/ 428391 w 5734864"/>
              <a:gd name="connsiteY83" fmla="*/ 3198850 h 6858000"/>
              <a:gd name="connsiteX84" fmla="*/ 401440 w 5734864"/>
              <a:gd name="connsiteY84" fmla="*/ 3307560 h 6858000"/>
              <a:gd name="connsiteX85" fmla="*/ 386076 w 5734864"/>
              <a:gd name="connsiteY85" fmla="*/ 3373943 h 6858000"/>
              <a:gd name="connsiteX86" fmla="*/ 374726 w 5734864"/>
              <a:gd name="connsiteY86" fmla="*/ 3381364 h 6858000"/>
              <a:gd name="connsiteX87" fmla="*/ 369145 w 5734864"/>
              <a:gd name="connsiteY87" fmla="*/ 3383729 h 6858000"/>
              <a:gd name="connsiteX88" fmla="*/ 364294 w 5734864"/>
              <a:gd name="connsiteY88" fmla="*/ 3414159 h 6858000"/>
              <a:gd name="connsiteX89" fmla="*/ 366450 w 5734864"/>
              <a:gd name="connsiteY89" fmla="*/ 3436925 h 6858000"/>
              <a:gd name="connsiteX90" fmla="*/ 351743 w 5734864"/>
              <a:gd name="connsiteY90" fmla="*/ 3521619 h 6858000"/>
              <a:gd name="connsiteX91" fmla="*/ 345784 w 5734864"/>
              <a:gd name="connsiteY91" fmla="*/ 3603757 h 6858000"/>
              <a:gd name="connsiteX92" fmla="*/ 344198 w 5734864"/>
              <a:gd name="connsiteY92" fmla="*/ 3652424 h 6858000"/>
              <a:gd name="connsiteX93" fmla="*/ 352450 w 5734864"/>
              <a:gd name="connsiteY93" fmla="*/ 3665222 h 6858000"/>
              <a:gd name="connsiteX94" fmla="*/ 342621 w 5734864"/>
              <a:gd name="connsiteY94" fmla="*/ 3700804 h 6858000"/>
              <a:gd name="connsiteX95" fmla="*/ 341514 w 5734864"/>
              <a:gd name="connsiteY95" fmla="*/ 3734774 h 6858000"/>
              <a:gd name="connsiteX96" fmla="*/ 340607 w 5734864"/>
              <a:gd name="connsiteY96" fmla="*/ 3785153 h 6858000"/>
              <a:gd name="connsiteX97" fmla="*/ 340707 w 5734864"/>
              <a:gd name="connsiteY97" fmla="*/ 3788177 h 6858000"/>
              <a:gd name="connsiteX98" fmla="*/ 340361 w 5734864"/>
              <a:gd name="connsiteY98" fmla="*/ 3798803 h 6858000"/>
              <a:gd name="connsiteX99" fmla="*/ 339642 w 5734864"/>
              <a:gd name="connsiteY99" fmla="*/ 3838750 h 6858000"/>
              <a:gd name="connsiteX100" fmla="*/ 360295 w 5734864"/>
              <a:gd name="connsiteY100" fmla="*/ 4015196 h 6858000"/>
              <a:gd name="connsiteX101" fmla="*/ 339043 w 5734864"/>
              <a:gd name="connsiteY101" fmla="*/ 4052778 h 6858000"/>
              <a:gd name="connsiteX102" fmla="*/ 339343 w 5734864"/>
              <a:gd name="connsiteY102" fmla="*/ 4096257 h 6858000"/>
              <a:gd name="connsiteX103" fmla="*/ 340786 w 5734864"/>
              <a:gd name="connsiteY103" fmla="*/ 4321136 h 6858000"/>
              <a:gd name="connsiteX104" fmla="*/ 343158 w 5734864"/>
              <a:gd name="connsiteY104" fmla="*/ 4429174 h 6858000"/>
              <a:gd name="connsiteX105" fmla="*/ 334599 w 5734864"/>
              <a:gd name="connsiteY105" fmla="*/ 4449938 h 6858000"/>
              <a:gd name="connsiteX106" fmla="*/ 332890 w 5734864"/>
              <a:gd name="connsiteY106" fmla="*/ 4453515 h 6858000"/>
              <a:gd name="connsiteX107" fmla="*/ 331105 w 5734864"/>
              <a:gd name="connsiteY107" fmla="*/ 4467941 h 6858000"/>
              <a:gd name="connsiteX108" fmla="*/ 324289 w 5734864"/>
              <a:gd name="connsiteY108" fmla="*/ 4471861 h 6858000"/>
              <a:gd name="connsiteX109" fmla="*/ 317079 w 5734864"/>
              <a:gd name="connsiteY109" fmla="*/ 4493468 h 6858000"/>
              <a:gd name="connsiteX110" fmla="*/ 315557 w 5734864"/>
              <a:gd name="connsiteY110" fmla="*/ 4520067 h 6858000"/>
              <a:gd name="connsiteX111" fmla="*/ 315240 w 5734864"/>
              <a:gd name="connsiteY111" fmla="*/ 4536872 h 6858000"/>
              <a:gd name="connsiteX112" fmla="*/ 316200 w 5734864"/>
              <a:gd name="connsiteY112" fmla="*/ 4538297 h 6858000"/>
              <a:gd name="connsiteX113" fmla="*/ 317507 w 5734864"/>
              <a:gd name="connsiteY113" fmla="*/ 4547582 h 6858000"/>
              <a:gd name="connsiteX114" fmla="*/ 323078 w 5734864"/>
              <a:gd name="connsiteY114" fmla="*/ 4592102 h 6858000"/>
              <a:gd name="connsiteX115" fmla="*/ 328722 w 5734864"/>
              <a:gd name="connsiteY115" fmla="*/ 4667914 h 6858000"/>
              <a:gd name="connsiteX116" fmla="*/ 335597 w 5734864"/>
              <a:gd name="connsiteY116" fmla="*/ 4695035 h 6858000"/>
              <a:gd name="connsiteX117" fmla="*/ 339485 w 5734864"/>
              <a:gd name="connsiteY117" fmla="*/ 4695979 h 6858000"/>
              <a:gd name="connsiteX118" fmla="*/ 341089 w 5734864"/>
              <a:gd name="connsiteY118" fmla="*/ 4704268 h 6858000"/>
              <a:gd name="connsiteX119" fmla="*/ 342177 w 5734864"/>
              <a:gd name="connsiteY119" fmla="*/ 4706060 h 6858000"/>
              <a:gd name="connsiteX120" fmla="*/ 347751 w 5734864"/>
              <a:gd name="connsiteY120" fmla="*/ 4716754 h 6858000"/>
              <a:gd name="connsiteX121" fmla="*/ 344125 w 5734864"/>
              <a:gd name="connsiteY121" fmla="*/ 4764669 h 6858000"/>
              <a:gd name="connsiteX122" fmla="*/ 340188 w 5734864"/>
              <a:gd name="connsiteY122" fmla="*/ 4779386 h 6858000"/>
              <a:gd name="connsiteX123" fmla="*/ 335146 w 5734864"/>
              <a:gd name="connsiteY123" fmla="*/ 4787491 h 6858000"/>
              <a:gd name="connsiteX124" fmla="*/ 319124 w 5734864"/>
              <a:gd name="connsiteY124" fmla="*/ 4843514 h 6858000"/>
              <a:gd name="connsiteX125" fmla="*/ 305956 w 5734864"/>
              <a:gd name="connsiteY125" fmla="*/ 4881505 h 6858000"/>
              <a:gd name="connsiteX126" fmla="*/ 301062 w 5734864"/>
              <a:gd name="connsiteY126" fmla="*/ 4889332 h 6858000"/>
              <a:gd name="connsiteX127" fmla="*/ 302141 w 5734864"/>
              <a:gd name="connsiteY127" fmla="*/ 4899400 h 6858000"/>
              <a:gd name="connsiteX128" fmla="*/ 304424 w 5734864"/>
              <a:gd name="connsiteY128" fmla="*/ 4902664 h 6858000"/>
              <a:gd name="connsiteX129" fmla="*/ 293123 w 5734864"/>
              <a:gd name="connsiteY129" fmla="*/ 4932769 h 6858000"/>
              <a:gd name="connsiteX130" fmla="*/ 292275 w 5734864"/>
              <a:gd name="connsiteY130" fmla="*/ 4936482 h 6858000"/>
              <a:gd name="connsiteX131" fmla="*/ 288304 w 5734864"/>
              <a:gd name="connsiteY131" fmla="*/ 4962325 h 6858000"/>
              <a:gd name="connsiteX132" fmla="*/ 287420 w 5734864"/>
              <a:gd name="connsiteY132" fmla="*/ 5042193 h 6858000"/>
              <a:gd name="connsiteX133" fmla="*/ 287020 w 5734864"/>
              <a:gd name="connsiteY133" fmla="*/ 5065655 h 6858000"/>
              <a:gd name="connsiteX134" fmla="*/ 288488 w 5734864"/>
              <a:gd name="connsiteY134" fmla="*/ 5082216 h 6858000"/>
              <a:gd name="connsiteX135" fmla="*/ 282763 w 5734864"/>
              <a:gd name="connsiteY135" fmla="*/ 5127114 h 6858000"/>
              <a:gd name="connsiteX136" fmla="*/ 269316 w 5734864"/>
              <a:gd name="connsiteY136" fmla="*/ 5202682 h 6858000"/>
              <a:gd name="connsiteX137" fmla="*/ 269174 w 5734864"/>
              <a:gd name="connsiteY137" fmla="*/ 5230835 h 6858000"/>
              <a:gd name="connsiteX138" fmla="*/ 272679 w 5734864"/>
              <a:gd name="connsiteY138" fmla="*/ 5232660 h 6858000"/>
              <a:gd name="connsiteX139" fmla="*/ 272160 w 5734864"/>
              <a:gd name="connsiteY139" fmla="*/ 5241150 h 6858000"/>
              <a:gd name="connsiteX140" fmla="*/ 272760 w 5734864"/>
              <a:gd name="connsiteY140" fmla="*/ 5243156 h 6858000"/>
              <a:gd name="connsiteX141" fmla="*/ 275462 w 5734864"/>
              <a:gd name="connsiteY141" fmla="*/ 5254919 h 6858000"/>
              <a:gd name="connsiteX142" fmla="*/ 262897 w 5734864"/>
              <a:gd name="connsiteY142" fmla="*/ 5286259 h 6858000"/>
              <a:gd name="connsiteX143" fmla="*/ 252761 w 5734864"/>
              <a:gd name="connsiteY143" fmla="*/ 5357801 h 6858000"/>
              <a:gd name="connsiteX144" fmla="*/ 242360 w 5734864"/>
              <a:gd name="connsiteY144" fmla="*/ 5460080 h 6858000"/>
              <a:gd name="connsiteX145" fmla="*/ 229880 w 5734864"/>
              <a:gd name="connsiteY145" fmla="*/ 5539714 h 6858000"/>
              <a:gd name="connsiteX146" fmla="*/ 204283 w 5734864"/>
              <a:gd name="connsiteY146" fmla="*/ 5639080 h 6858000"/>
              <a:gd name="connsiteX147" fmla="*/ 198948 w 5734864"/>
              <a:gd name="connsiteY147" fmla="*/ 5710958 h 6858000"/>
              <a:gd name="connsiteX148" fmla="*/ 192367 w 5734864"/>
              <a:gd name="connsiteY148" fmla="*/ 5719859 h 6858000"/>
              <a:gd name="connsiteX149" fmla="*/ 188035 w 5734864"/>
              <a:gd name="connsiteY149" fmla="*/ 5729935 h 6858000"/>
              <a:gd name="connsiteX150" fmla="*/ 188428 w 5734864"/>
              <a:gd name="connsiteY150" fmla="*/ 5731182 h 6858000"/>
              <a:gd name="connsiteX151" fmla="*/ 181635 w 5734864"/>
              <a:gd name="connsiteY151" fmla="*/ 5753538 h 6858000"/>
              <a:gd name="connsiteX152" fmla="*/ 169744 w 5734864"/>
              <a:gd name="connsiteY152" fmla="*/ 5796307 h 6858000"/>
              <a:gd name="connsiteX153" fmla="*/ 170351 w 5734864"/>
              <a:gd name="connsiteY153" fmla="*/ 5796644 h 6858000"/>
              <a:gd name="connsiteX154" fmla="*/ 171559 w 5734864"/>
              <a:gd name="connsiteY154" fmla="*/ 5803435 h 6858000"/>
              <a:gd name="connsiteX155" fmla="*/ 172284 w 5734864"/>
              <a:gd name="connsiteY155" fmla="*/ 5816391 h 6858000"/>
              <a:gd name="connsiteX156" fmla="*/ 182542 w 5734864"/>
              <a:gd name="connsiteY156" fmla="*/ 5846382 h 6858000"/>
              <a:gd name="connsiteX157" fmla="*/ 175877 w 5734864"/>
              <a:gd name="connsiteY157" fmla="*/ 5871336 h 6858000"/>
              <a:gd name="connsiteX158" fmla="*/ 174910 w 5734864"/>
              <a:gd name="connsiteY158" fmla="*/ 5876376 h 6858000"/>
              <a:gd name="connsiteX159" fmla="*/ 175047 w 5734864"/>
              <a:gd name="connsiteY159" fmla="*/ 5876483 h 6858000"/>
              <a:gd name="connsiteX160" fmla="*/ 174335 w 5734864"/>
              <a:gd name="connsiteY160" fmla="*/ 5881814 h 6858000"/>
              <a:gd name="connsiteX161" fmla="*/ 171273 w 5734864"/>
              <a:gd name="connsiteY161" fmla="*/ 5895339 h 6858000"/>
              <a:gd name="connsiteX162" fmla="*/ 171658 w 5734864"/>
              <a:gd name="connsiteY162" fmla="*/ 5898749 h 6858000"/>
              <a:gd name="connsiteX163" fmla="*/ 174658 w 5734864"/>
              <a:gd name="connsiteY163" fmla="*/ 5919558 h 6858000"/>
              <a:gd name="connsiteX164" fmla="*/ 169099 w 5734864"/>
              <a:gd name="connsiteY164" fmla="*/ 5984417 h 6858000"/>
              <a:gd name="connsiteX165" fmla="*/ 162007 w 5734864"/>
              <a:gd name="connsiteY165" fmla="*/ 6049043 h 6858000"/>
              <a:gd name="connsiteX166" fmla="*/ 156875 w 5734864"/>
              <a:gd name="connsiteY166" fmla="*/ 6114000 h 6858000"/>
              <a:gd name="connsiteX167" fmla="*/ 165441 w 5734864"/>
              <a:gd name="connsiteY167" fmla="*/ 6146938 h 6858000"/>
              <a:gd name="connsiteX168" fmla="*/ 165177 w 5734864"/>
              <a:gd name="connsiteY168" fmla="*/ 6150658 h 6858000"/>
              <a:gd name="connsiteX169" fmla="*/ 161772 w 5734864"/>
              <a:gd name="connsiteY169" fmla="*/ 6160011 h 6858000"/>
              <a:gd name="connsiteX170" fmla="*/ 160051 w 5734864"/>
              <a:gd name="connsiteY170" fmla="*/ 6163393 h 6858000"/>
              <a:gd name="connsiteX171" fmla="*/ 158473 w 5734864"/>
              <a:gd name="connsiteY171" fmla="*/ 6168628 h 6858000"/>
              <a:gd name="connsiteX172" fmla="*/ 158573 w 5734864"/>
              <a:gd name="connsiteY172" fmla="*/ 6168799 h 6858000"/>
              <a:gd name="connsiteX173" fmla="*/ 146463 w 5734864"/>
              <a:gd name="connsiteY173" fmla="*/ 6196671 h 6858000"/>
              <a:gd name="connsiteX174" fmla="*/ 150209 w 5734864"/>
              <a:gd name="connsiteY174" fmla="*/ 6232365 h 6858000"/>
              <a:gd name="connsiteX175" fmla="*/ 148544 w 5734864"/>
              <a:gd name="connsiteY175" fmla="*/ 6246162 h 6858000"/>
              <a:gd name="connsiteX176" fmla="*/ 148403 w 5734864"/>
              <a:gd name="connsiteY176" fmla="*/ 6253754 h 6858000"/>
              <a:gd name="connsiteX177" fmla="*/ 138880 w 5734864"/>
              <a:gd name="connsiteY177" fmla="*/ 6276449 h 6858000"/>
              <a:gd name="connsiteX178" fmla="*/ 138683 w 5734864"/>
              <a:gd name="connsiteY178" fmla="*/ 6279721 h 6858000"/>
              <a:gd name="connsiteX179" fmla="*/ 130721 w 5734864"/>
              <a:gd name="connsiteY179" fmla="*/ 6293675 h 6858000"/>
              <a:gd name="connsiteX180" fmla="*/ 120717 w 5734864"/>
              <a:gd name="connsiteY180" fmla="*/ 6313967 h 6858000"/>
              <a:gd name="connsiteX181" fmla="*/ 120841 w 5734864"/>
              <a:gd name="connsiteY181" fmla="*/ 6315437 h 6858000"/>
              <a:gd name="connsiteX182" fmla="*/ 115208 w 5734864"/>
              <a:gd name="connsiteY182" fmla="*/ 6324024 h 6858000"/>
              <a:gd name="connsiteX183" fmla="*/ 101217 w 5734864"/>
              <a:gd name="connsiteY183" fmla="*/ 6365923 h 6858000"/>
              <a:gd name="connsiteX184" fmla="*/ 74946 w 5734864"/>
              <a:gd name="connsiteY184" fmla="*/ 6556817 h 6858000"/>
              <a:gd name="connsiteX185" fmla="*/ 16001 w 5734864"/>
              <a:gd name="connsiteY185" fmla="*/ 6808678 h 6858000"/>
              <a:gd name="connsiteX186" fmla="*/ 0 w 5734864"/>
              <a:gd name="connsiteY186" fmla="*/ 6858000 h 6858000"/>
              <a:gd name="connsiteX187" fmla="*/ 5734864 w 5734864"/>
              <a:gd name="connsiteY187" fmla="*/ 6858000 h 6858000"/>
              <a:gd name="connsiteX188" fmla="*/ 5734864 w 5734864"/>
              <a:gd name="connsiteY188" fmla="*/ 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7865 w 5734864"/>
              <a:gd name="connsiteY13" fmla="*/ 1070795 h 6858000"/>
              <a:gd name="connsiteX14" fmla="*/ 862786 w 5734864"/>
              <a:gd name="connsiteY14" fmla="*/ 1238994 h 6858000"/>
              <a:gd name="connsiteX15" fmla="*/ 859345 w 5734864"/>
              <a:gd name="connsiteY15" fmla="*/ 1380427 h 6858000"/>
              <a:gd name="connsiteX16" fmla="*/ 855172 w 5734864"/>
              <a:gd name="connsiteY16" fmla="*/ 1435262 h 6858000"/>
              <a:gd name="connsiteX17" fmla="*/ 860494 w 5734864"/>
              <a:gd name="connsiteY17" fmla="*/ 1453861 h 6858000"/>
              <a:gd name="connsiteX18" fmla="*/ 853731 w 5734864"/>
              <a:gd name="connsiteY18" fmla="*/ 1467047 h 6858000"/>
              <a:gd name="connsiteX19" fmla="*/ 845847 w 5734864"/>
              <a:gd name="connsiteY19" fmla="*/ 1502307 h 6858000"/>
              <a:gd name="connsiteX20" fmla="*/ 817613 w 5734864"/>
              <a:gd name="connsiteY20" fmla="*/ 1565166 h 6858000"/>
              <a:gd name="connsiteX21" fmla="*/ 804223 w 5734864"/>
              <a:gd name="connsiteY21" fmla="*/ 1601941 h 6858000"/>
              <a:gd name="connsiteX22" fmla="*/ 791773 w 5734864"/>
              <a:gd name="connsiteY22" fmla="*/ 1627005 h 6858000"/>
              <a:gd name="connsiteX23" fmla="*/ 774645 w 5734864"/>
              <a:gd name="connsiteY23" fmla="*/ 1699922 h 6858000"/>
              <a:gd name="connsiteX24" fmla="*/ 752343 w 5734864"/>
              <a:gd name="connsiteY24" fmla="*/ 1824604 h 6858000"/>
              <a:gd name="connsiteX25" fmla="*/ 746254 w 5734864"/>
              <a:gd name="connsiteY25" fmla="*/ 1850222 h 6858000"/>
              <a:gd name="connsiteX26" fmla="*/ 728600 w 5734864"/>
              <a:gd name="connsiteY26" fmla="*/ 1869603 h 6858000"/>
              <a:gd name="connsiteX27" fmla="*/ 724396 w 5734864"/>
              <a:gd name="connsiteY27" fmla="*/ 1883104 h 6858000"/>
              <a:gd name="connsiteX28" fmla="*/ 722165 w 5734864"/>
              <a:gd name="connsiteY28" fmla="*/ 1885924 h 6858000"/>
              <a:gd name="connsiteX29" fmla="*/ 721338 w 5734864"/>
              <a:gd name="connsiteY29" fmla="*/ 1887123 h 6858000"/>
              <a:gd name="connsiteX30" fmla="*/ 714840 w 5734864"/>
              <a:gd name="connsiteY30" fmla="*/ 1902274 h 6858000"/>
              <a:gd name="connsiteX31" fmla="*/ 722847 w 5734864"/>
              <a:gd name="connsiteY31" fmla="*/ 1929891 h 6858000"/>
              <a:gd name="connsiteX32" fmla="*/ 714660 w 5734864"/>
              <a:gd name="connsiteY32" fmla="*/ 1982709 h 6858000"/>
              <a:gd name="connsiteX33" fmla="*/ 710759 w 5734864"/>
              <a:gd name="connsiteY33" fmla="*/ 2013010 h 6858000"/>
              <a:gd name="connsiteX34" fmla="*/ 697927 w 5734864"/>
              <a:gd name="connsiteY34" fmla="*/ 2069833 h 6858000"/>
              <a:gd name="connsiteX35" fmla="*/ 693594 w 5734864"/>
              <a:gd name="connsiteY35" fmla="*/ 2103731 h 6858000"/>
              <a:gd name="connsiteX36" fmla="*/ 691109 w 5734864"/>
              <a:gd name="connsiteY36" fmla="*/ 2124027 h 6858000"/>
              <a:gd name="connsiteX37" fmla="*/ 676593 w 5734864"/>
              <a:gd name="connsiteY37" fmla="*/ 2176182 h 6858000"/>
              <a:gd name="connsiteX38" fmla="*/ 633227 w 5734864"/>
              <a:gd name="connsiteY38" fmla="*/ 2258036 h 6858000"/>
              <a:gd name="connsiteX39" fmla="*/ 625564 w 5734864"/>
              <a:gd name="connsiteY39" fmla="*/ 2284567 h 6858000"/>
              <a:gd name="connsiteX40" fmla="*/ 627074 w 5734864"/>
              <a:gd name="connsiteY40" fmla="*/ 2289605 h 6858000"/>
              <a:gd name="connsiteX41" fmla="*/ 614574 w 5734864"/>
              <a:gd name="connsiteY41" fmla="*/ 2308717 h 6858000"/>
              <a:gd name="connsiteX42" fmla="*/ 606890 w 5734864"/>
              <a:gd name="connsiteY42" fmla="*/ 2320662 h 6858000"/>
              <a:gd name="connsiteX43" fmla="*/ 605558 w 5734864"/>
              <a:gd name="connsiteY43" fmla="*/ 2327897 h 6858000"/>
              <a:gd name="connsiteX44" fmla="*/ 602202 w 5734864"/>
              <a:gd name="connsiteY44" fmla="*/ 2357749 h 6858000"/>
              <a:gd name="connsiteX45" fmla="*/ 600213 w 5734864"/>
              <a:gd name="connsiteY45" fmla="*/ 2364905 h 6858000"/>
              <a:gd name="connsiteX46" fmla="*/ 597160 w 5734864"/>
              <a:gd name="connsiteY46" fmla="*/ 2388351 h 6858000"/>
              <a:gd name="connsiteX47" fmla="*/ 597982 w 5734864"/>
              <a:gd name="connsiteY47" fmla="*/ 2402296 h 6858000"/>
              <a:gd name="connsiteX48" fmla="*/ 593150 w 5734864"/>
              <a:gd name="connsiteY48" fmla="*/ 2420015 h 6858000"/>
              <a:gd name="connsiteX49" fmla="*/ 592833 w 5734864"/>
              <a:gd name="connsiteY49" fmla="*/ 2422749 h 6858000"/>
              <a:gd name="connsiteX50" fmla="*/ 594479 w 5734864"/>
              <a:gd name="connsiteY50" fmla="*/ 2426002 h 6858000"/>
              <a:gd name="connsiteX51" fmla="*/ 591963 w 5734864"/>
              <a:gd name="connsiteY51" fmla="*/ 2431950 h 6858000"/>
              <a:gd name="connsiteX52" fmla="*/ 591544 w 5734864"/>
              <a:gd name="connsiteY52" fmla="*/ 2433897 h 6858000"/>
              <a:gd name="connsiteX53" fmla="*/ 589519 w 5734864"/>
              <a:gd name="connsiteY53" fmla="*/ 2451398 h 6858000"/>
              <a:gd name="connsiteX54" fmla="*/ 590037 w 5734864"/>
              <a:gd name="connsiteY54" fmla="*/ 2455536 h 6858000"/>
              <a:gd name="connsiteX55" fmla="*/ 588179 w 5734864"/>
              <a:gd name="connsiteY55" fmla="*/ 2462981 h 6858000"/>
              <a:gd name="connsiteX56" fmla="*/ 583434 w 5734864"/>
              <a:gd name="connsiteY56" fmla="*/ 2503991 h 6858000"/>
              <a:gd name="connsiteX57" fmla="*/ 567942 w 5734864"/>
              <a:gd name="connsiteY57" fmla="*/ 2652936 h 6858000"/>
              <a:gd name="connsiteX58" fmla="*/ 573869 w 5734864"/>
              <a:gd name="connsiteY58" fmla="*/ 2670188 h 6858000"/>
              <a:gd name="connsiteX59" fmla="*/ 575243 w 5734864"/>
              <a:gd name="connsiteY59" fmla="*/ 2688114 h 6858000"/>
              <a:gd name="connsiteX60" fmla="*/ 573824 w 5734864"/>
              <a:gd name="connsiteY60" fmla="*/ 2689856 h 6858000"/>
              <a:gd name="connsiteX61" fmla="*/ 570699 w 5734864"/>
              <a:gd name="connsiteY61" fmla="*/ 2709353 h 6858000"/>
              <a:gd name="connsiteX62" fmla="*/ 573192 w 5734864"/>
              <a:gd name="connsiteY62" fmla="*/ 2714527 h 6858000"/>
              <a:gd name="connsiteX63" fmla="*/ 572044 w 5734864"/>
              <a:gd name="connsiteY63" fmla="*/ 2728187 h 6858000"/>
              <a:gd name="connsiteX64" fmla="*/ 572465 w 5734864"/>
              <a:gd name="connsiteY64" fmla="*/ 2755863 h 6858000"/>
              <a:gd name="connsiteX65" fmla="*/ 570028 w 5734864"/>
              <a:gd name="connsiteY65" fmla="*/ 2760324 h 6858000"/>
              <a:gd name="connsiteX66" fmla="*/ 566748 w 5734864"/>
              <a:gd name="connsiteY66" fmla="*/ 2800948 h 6858000"/>
              <a:gd name="connsiteX67" fmla="*/ 565509 w 5734864"/>
              <a:gd name="connsiteY67" fmla="*/ 2801167 h 6858000"/>
              <a:gd name="connsiteX68" fmla="*/ 559367 w 5734864"/>
              <a:gd name="connsiteY68" fmla="*/ 2811129 h 6858000"/>
              <a:gd name="connsiteX69" fmla="*/ 550354 w 5734864"/>
              <a:gd name="connsiteY69" fmla="*/ 2830949 h 6858000"/>
              <a:gd name="connsiteX70" fmla="*/ 514795 w 5734864"/>
              <a:gd name="connsiteY70" fmla="*/ 2872433 h 6858000"/>
              <a:gd name="connsiteX71" fmla="*/ 509875 w 5734864"/>
              <a:gd name="connsiteY71" fmla="*/ 2923099 h 6858000"/>
              <a:gd name="connsiteX72" fmla="*/ 509577 w 5734864"/>
              <a:gd name="connsiteY72" fmla="*/ 2923197 h 6858000"/>
              <a:gd name="connsiteX73" fmla="*/ 507597 w 5734864"/>
              <a:gd name="connsiteY73" fmla="*/ 2931868 h 6858000"/>
              <a:gd name="connsiteX74" fmla="*/ 507379 w 5734864"/>
              <a:gd name="connsiteY74" fmla="*/ 2938322 h 6858000"/>
              <a:gd name="connsiteX75" fmla="*/ 504725 w 5734864"/>
              <a:gd name="connsiteY75" fmla="*/ 2954519 h 6858000"/>
              <a:gd name="connsiteX76" fmla="*/ 502018 w 5734864"/>
              <a:gd name="connsiteY76" fmla="*/ 2959643 h 6858000"/>
              <a:gd name="connsiteX77" fmla="*/ 498360 w 5734864"/>
              <a:gd name="connsiteY77" fmla="*/ 2961019 h 6858000"/>
              <a:gd name="connsiteX78" fmla="*/ 498483 w 5734864"/>
              <a:gd name="connsiteY78" fmla="*/ 2962590 h 6858000"/>
              <a:gd name="connsiteX79" fmla="*/ 484403 w 5734864"/>
              <a:gd name="connsiteY79" fmla="*/ 2990538 h 6858000"/>
              <a:gd name="connsiteX80" fmla="*/ 463075 w 5734864"/>
              <a:gd name="connsiteY80" fmla="*/ 3055956 h 6858000"/>
              <a:gd name="connsiteX81" fmla="*/ 455013 w 5734864"/>
              <a:gd name="connsiteY81" fmla="*/ 3094482 h 6858000"/>
              <a:gd name="connsiteX82" fmla="*/ 428391 w 5734864"/>
              <a:gd name="connsiteY82" fmla="*/ 3198850 h 6858000"/>
              <a:gd name="connsiteX83" fmla="*/ 401440 w 5734864"/>
              <a:gd name="connsiteY83" fmla="*/ 3307560 h 6858000"/>
              <a:gd name="connsiteX84" fmla="*/ 386076 w 5734864"/>
              <a:gd name="connsiteY84" fmla="*/ 3373943 h 6858000"/>
              <a:gd name="connsiteX85" fmla="*/ 374726 w 5734864"/>
              <a:gd name="connsiteY85" fmla="*/ 3381364 h 6858000"/>
              <a:gd name="connsiteX86" fmla="*/ 369145 w 5734864"/>
              <a:gd name="connsiteY86" fmla="*/ 3383729 h 6858000"/>
              <a:gd name="connsiteX87" fmla="*/ 364294 w 5734864"/>
              <a:gd name="connsiteY87" fmla="*/ 3414159 h 6858000"/>
              <a:gd name="connsiteX88" fmla="*/ 366450 w 5734864"/>
              <a:gd name="connsiteY88" fmla="*/ 3436925 h 6858000"/>
              <a:gd name="connsiteX89" fmla="*/ 351743 w 5734864"/>
              <a:gd name="connsiteY89" fmla="*/ 3521619 h 6858000"/>
              <a:gd name="connsiteX90" fmla="*/ 345784 w 5734864"/>
              <a:gd name="connsiteY90" fmla="*/ 3603757 h 6858000"/>
              <a:gd name="connsiteX91" fmla="*/ 344198 w 5734864"/>
              <a:gd name="connsiteY91" fmla="*/ 3652424 h 6858000"/>
              <a:gd name="connsiteX92" fmla="*/ 352450 w 5734864"/>
              <a:gd name="connsiteY92" fmla="*/ 3665222 h 6858000"/>
              <a:gd name="connsiteX93" fmla="*/ 342621 w 5734864"/>
              <a:gd name="connsiteY93" fmla="*/ 3700804 h 6858000"/>
              <a:gd name="connsiteX94" fmla="*/ 341514 w 5734864"/>
              <a:gd name="connsiteY94" fmla="*/ 3734774 h 6858000"/>
              <a:gd name="connsiteX95" fmla="*/ 340607 w 5734864"/>
              <a:gd name="connsiteY95" fmla="*/ 3785153 h 6858000"/>
              <a:gd name="connsiteX96" fmla="*/ 340707 w 5734864"/>
              <a:gd name="connsiteY96" fmla="*/ 3788177 h 6858000"/>
              <a:gd name="connsiteX97" fmla="*/ 340361 w 5734864"/>
              <a:gd name="connsiteY97" fmla="*/ 3798803 h 6858000"/>
              <a:gd name="connsiteX98" fmla="*/ 339642 w 5734864"/>
              <a:gd name="connsiteY98" fmla="*/ 3838750 h 6858000"/>
              <a:gd name="connsiteX99" fmla="*/ 360295 w 5734864"/>
              <a:gd name="connsiteY99" fmla="*/ 4015196 h 6858000"/>
              <a:gd name="connsiteX100" fmla="*/ 339043 w 5734864"/>
              <a:gd name="connsiteY100" fmla="*/ 4052778 h 6858000"/>
              <a:gd name="connsiteX101" fmla="*/ 339343 w 5734864"/>
              <a:gd name="connsiteY101" fmla="*/ 4096257 h 6858000"/>
              <a:gd name="connsiteX102" fmla="*/ 340786 w 5734864"/>
              <a:gd name="connsiteY102" fmla="*/ 4321136 h 6858000"/>
              <a:gd name="connsiteX103" fmla="*/ 343158 w 5734864"/>
              <a:gd name="connsiteY103" fmla="*/ 4429174 h 6858000"/>
              <a:gd name="connsiteX104" fmla="*/ 334599 w 5734864"/>
              <a:gd name="connsiteY104" fmla="*/ 4449938 h 6858000"/>
              <a:gd name="connsiteX105" fmla="*/ 332890 w 5734864"/>
              <a:gd name="connsiteY105" fmla="*/ 4453515 h 6858000"/>
              <a:gd name="connsiteX106" fmla="*/ 331105 w 5734864"/>
              <a:gd name="connsiteY106" fmla="*/ 4467941 h 6858000"/>
              <a:gd name="connsiteX107" fmla="*/ 324289 w 5734864"/>
              <a:gd name="connsiteY107" fmla="*/ 4471861 h 6858000"/>
              <a:gd name="connsiteX108" fmla="*/ 317079 w 5734864"/>
              <a:gd name="connsiteY108" fmla="*/ 4493468 h 6858000"/>
              <a:gd name="connsiteX109" fmla="*/ 315557 w 5734864"/>
              <a:gd name="connsiteY109" fmla="*/ 4520067 h 6858000"/>
              <a:gd name="connsiteX110" fmla="*/ 315240 w 5734864"/>
              <a:gd name="connsiteY110" fmla="*/ 4536872 h 6858000"/>
              <a:gd name="connsiteX111" fmla="*/ 316200 w 5734864"/>
              <a:gd name="connsiteY111" fmla="*/ 4538297 h 6858000"/>
              <a:gd name="connsiteX112" fmla="*/ 317507 w 5734864"/>
              <a:gd name="connsiteY112" fmla="*/ 4547582 h 6858000"/>
              <a:gd name="connsiteX113" fmla="*/ 323078 w 5734864"/>
              <a:gd name="connsiteY113" fmla="*/ 4592102 h 6858000"/>
              <a:gd name="connsiteX114" fmla="*/ 328722 w 5734864"/>
              <a:gd name="connsiteY114" fmla="*/ 4667914 h 6858000"/>
              <a:gd name="connsiteX115" fmla="*/ 335597 w 5734864"/>
              <a:gd name="connsiteY115" fmla="*/ 4695035 h 6858000"/>
              <a:gd name="connsiteX116" fmla="*/ 339485 w 5734864"/>
              <a:gd name="connsiteY116" fmla="*/ 4695979 h 6858000"/>
              <a:gd name="connsiteX117" fmla="*/ 341089 w 5734864"/>
              <a:gd name="connsiteY117" fmla="*/ 4704268 h 6858000"/>
              <a:gd name="connsiteX118" fmla="*/ 342177 w 5734864"/>
              <a:gd name="connsiteY118" fmla="*/ 4706060 h 6858000"/>
              <a:gd name="connsiteX119" fmla="*/ 347751 w 5734864"/>
              <a:gd name="connsiteY119" fmla="*/ 4716754 h 6858000"/>
              <a:gd name="connsiteX120" fmla="*/ 344125 w 5734864"/>
              <a:gd name="connsiteY120" fmla="*/ 4764669 h 6858000"/>
              <a:gd name="connsiteX121" fmla="*/ 340188 w 5734864"/>
              <a:gd name="connsiteY121" fmla="*/ 4779386 h 6858000"/>
              <a:gd name="connsiteX122" fmla="*/ 335146 w 5734864"/>
              <a:gd name="connsiteY122" fmla="*/ 4787491 h 6858000"/>
              <a:gd name="connsiteX123" fmla="*/ 319124 w 5734864"/>
              <a:gd name="connsiteY123" fmla="*/ 4843514 h 6858000"/>
              <a:gd name="connsiteX124" fmla="*/ 305956 w 5734864"/>
              <a:gd name="connsiteY124" fmla="*/ 4881505 h 6858000"/>
              <a:gd name="connsiteX125" fmla="*/ 301062 w 5734864"/>
              <a:gd name="connsiteY125" fmla="*/ 4889332 h 6858000"/>
              <a:gd name="connsiteX126" fmla="*/ 302141 w 5734864"/>
              <a:gd name="connsiteY126" fmla="*/ 4899400 h 6858000"/>
              <a:gd name="connsiteX127" fmla="*/ 304424 w 5734864"/>
              <a:gd name="connsiteY127" fmla="*/ 4902664 h 6858000"/>
              <a:gd name="connsiteX128" fmla="*/ 293123 w 5734864"/>
              <a:gd name="connsiteY128" fmla="*/ 4932769 h 6858000"/>
              <a:gd name="connsiteX129" fmla="*/ 292275 w 5734864"/>
              <a:gd name="connsiteY129" fmla="*/ 4936482 h 6858000"/>
              <a:gd name="connsiteX130" fmla="*/ 288304 w 5734864"/>
              <a:gd name="connsiteY130" fmla="*/ 4962325 h 6858000"/>
              <a:gd name="connsiteX131" fmla="*/ 287420 w 5734864"/>
              <a:gd name="connsiteY131" fmla="*/ 5042193 h 6858000"/>
              <a:gd name="connsiteX132" fmla="*/ 287020 w 5734864"/>
              <a:gd name="connsiteY132" fmla="*/ 5065655 h 6858000"/>
              <a:gd name="connsiteX133" fmla="*/ 288488 w 5734864"/>
              <a:gd name="connsiteY133" fmla="*/ 5082216 h 6858000"/>
              <a:gd name="connsiteX134" fmla="*/ 282763 w 5734864"/>
              <a:gd name="connsiteY134" fmla="*/ 5127114 h 6858000"/>
              <a:gd name="connsiteX135" fmla="*/ 269316 w 5734864"/>
              <a:gd name="connsiteY135" fmla="*/ 5202682 h 6858000"/>
              <a:gd name="connsiteX136" fmla="*/ 269174 w 5734864"/>
              <a:gd name="connsiteY136" fmla="*/ 5230835 h 6858000"/>
              <a:gd name="connsiteX137" fmla="*/ 272679 w 5734864"/>
              <a:gd name="connsiteY137" fmla="*/ 5232660 h 6858000"/>
              <a:gd name="connsiteX138" fmla="*/ 272160 w 5734864"/>
              <a:gd name="connsiteY138" fmla="*/ 5241150 h 6858000"/>
              <a:gd name="connsiteX139" fmla="*/ 272760 w 5734864"/>
              <a:gd name="connsiteY139" fmla="*/ 5243156 h 6858000"/>
              <a:gd name="connsiteX140" fmla="*/ 275462 w 5734864"/>
              <a:gd name="connsiteY140" fmla="*/ 5254919 h 6858000"/>
              <a:gd name="connsiteX141" fmla="*/ 262897 w 5734864"/>
              <a:gd name="connsiteY141" fmla="*/ 5286259 h 6858000"/>
              <a:gd name="connsiteX142" fmla="*/ 252761 w 5734864"/>
              <a:gd name="connsiteY142" fmla="*/ 5357801 h 6858000"/>
              <a:gd name="connsiteX143" fmla="*/ 242360 w 5734864"/>
              <a:gd name="connsiteY143" fmla="*/ 5460080 h 6858000"/>
              <a:gd name="connsiteX144" fmla="*/ 229880 w 5734864"/>
              <a:gd name="connsiteY144" fmla="*/ 5539714 h 6858000"/>
              <a:gd name="connsiteX145" fmla="*/ 204283 w 5734864"/>
              <a:gd name="connsiteY145" fmla="*/ 5639080 h 6858000"/>
              <a:gd name="connsiteX146" fmla="*/ 198948 w 5734864"/>
              <a:gd name="connsiteY146" fmla="*/ 5710958 h 6858000"/>
              <a:gd name="connsiteX147" fmla="*/ 192367 w 5734864"/>
              <a:gd name="connsiteY147" fmla="*/ 5719859 h 6858000"/>
              <a:gd name="connsiteX148" fmla="*/ 188035 w 5734864"/>
              <a:gd name="connsiteY148" fmla="*/ 5729935 h 6858000"/>
              <a:gd name="connsiteX149" fmla="*/ 188428 w 5734864"/>
              <a:gd name="connsiteY149" fmla="*/ 5731182 h 6858000"/>
              <a:gd name="connsiteX150" fmla="*/ 181635 w 5734864"/>
              <a:gd name="connsiteY150" fmla="*/ 5753538 h 6858000"/>
              <a:gd name="connsiteX151" fmla="*/ 169744 w 5734864"/>
              <a:gd name="connsiteY151" fmla="*/ 5796307 h 6858000"/>
              <a:gd name="connsiteX152" fmla="*/ 170351 w 5734864"/>
              <a:gd name="connsiteY152" fmla="*/ 5796644 h 6858000"/>
              <a:gd name="connsiteX153" fmla="*/ 171559 w 5734864"/>
              <a:gd name="connsiteY153" fmla="*/ 5803435 h 6858000"/>
              <a:gd name="connsiteX154" fmla="*/ 172284 w 5734864"/>
              <a:gd name="connsiteY154" fmla="*/ 5816391 h 6858000"/>
              <a:gd name="connsiteX155" fmla="*/ 182542 w 5734864"/>
              <a:gd name="connsiteY155" fmla="*/ 5846382 h 6858000"/>
              <a:gd name="connsiteX156" fmla="*/ 175877 w 5734864"/>
              <a:gd name="connsiteY156" fmla="*/ 5871336 h 6858000"/>
              <a:gd name="connsiteX157" fmla="*/ 174910 w 5734864"/>
              <a:gd name="connsiteY157" fmla="*/ 5876376 h 6858000"/>
              <a:gd name="connsiteX158" fmla="*/ 175047 w 5734864"/>
              <a:gd name="connsiteY158" fmla="*/ 5876483 h 6858000"/>
              <a:gd name="connsiteX159" fmla="*/ 174335 w 5734864"/>
              <a:gd name="connsiteY159" fmla="*/ 5881814 h 6858000"/>
              <a:gd name="connsiteX160" fmla="*/ 171273 w 5734864"/>
              <a:gd name="connsiteY160" fmla="*/ 5895339 h 6858000"/>
              <a:gd name="connsiteX161" fmla="*/ 171658 w 5734864"/>
              <a:gd name="connsiteY161" fmla="*/ 5898749 h 6858000"/>
              <a:gd name="connsiteX162" fmla="*/ 174658 w 5734864"/>
              <a:gd name="connsiteY162" fmla="*/ 5919558 h 6858000"/>
              <a:gd name="connsiteX163" fmla="*/ 169099 w 5734864"/>
              <a:gd name="connsiteY163" fmla="*/ 5984417 h 6858000"/>
              <a:gd name="connsiteX164" fmla="*/ 162007 w 5734864"/>
              <a:gd name="connsiteY164" fmla="*/ 6049043 h 6858000"/>
              <a:gd name="connsiteX165" fmla="*/ 156875 w 5734864"/>
              <a:gd name="connsiteY165" fmla="*/ 6114000 h 6858000"/>
              <a:gd name="connsiteX166" fmla="*/ 165441 w 5734864"/>
              <a:gd name="connsiteY166" fmla="*/ 6146938 h 6858000"/>
              <a:gd name="connsiteX167" fmla="*/ 165177 w 5734864"/>
              <a:gd name="connsiteY167" fmla="*/ 6150658 h 6858000"/>
              <a:gd name="connsiteX168" fmla="*/ 161772 w 5734864"/>
              <a:gd name="connsiteY168" fmla="*/ 6160011 h 6858000"/>
              <a:gd name="connsiteX169" fmla="*/ 160051 w 5734864"/>
              <a:gd name="connsiteY169" fmla="*/ 6163393 h 6858000"/>
              <a:gd name="connsiteX170" fmla="*/ 158473 w 5734864"/>
              <a:gd name="connsiteY170" fmla="*/ 6168628 h 6858000"/>
              <a:gd name="connsiteX171" fmla="*/ 158573 w 5734864"/>
              <a:gd name="connsiteY171" fmla="*/ 6168799 h 6858000"/>
              <a:gd name="connsiteX172" fmla="*/ 146463 w 5734864"/>
              <a:gd name="connsiteY172" fmla="*/ 6196671 h 6858000"/>
              <a:gd name="connsiteX173" fmla="*/ 150209 w 5734864"/>
              <a:gd name="connsiteY173" fmla="*/ 6232365 h 6858000"/>
              <a:gd name="connsiteX174" fmla="*/ 148544 w 5734864"/>
              <a:gd name="connsiteY174" fmla="*/ 6246162 h 6858000"/>
              <a:gd name="connsiteX175" fmla="*/ 148403 w 5734864"/>
              <a:gd name="connsiteY175" fmla="*/ 6253754 h 6858000"/>
              <a:gd name="connsiteX176" fmla="*/ 138880 w 5734864"/>
              <a:gd name="connsiteY176" fmla="*/ 6276449 h 6858000"/>
              <a:gd name="connsiteX177" fmla="*/ 138683 w 5734864"/>
              <a:gd name="connsiteY177" fmla="*/ 6279721 h 6858000"/>
              <a:gd name="connsiteX178" fmla="*/ 130721 w 5734864"/>
              <a:gd name="connsiteY178" fmla="*/ 6293675 h 6858000"/>
              <a:gd name="connsiteX179" fmla="*/ 120717 w 5734864"/>
              <a:gd name="connsiteY179" fmla="*/ 6313967 h 6858000"/>
              <a:gd name="connsiteX180" fmla="*/ 120841 w 5734864"/>
              <a:gd name="connsiteY180" fmla="*/ 6315437 h 6858000"/>
              <a:gd name="connsiteX181" fmla="*/ 115208 w 5734864"/>
              <a:gd name="connsiteY181" fmla="*/ 6324024 h 6858000"/>
              <a:gd name="connsiteX182" fmla="*/ 101217 w 5734864"/>
              <a:gd name="connsiteY182" fmla="*/ 6365923 h 6858000"/>
              <a:gd name="connsiteX183" fmla="*/ 74946 w 5734864"/>
              <a:gd name="connsiteY183" fmla="*/ 6556817 h 6858000"/>
              <a:gd name="connsiteX184" fmla="*/ 16001 w 5734864"/>
              <a:gd name="connsiteY184" fmla="*/ 6808678 h 6858000"/>
              <a:gd name="connsiteX185" fmla="*/ 0 w 5734864"/>
              <a:gd name="connsiteY185" fmla="*/ 6858000 h 6858000"/>
              <a:gd name="connsiteX186" fmla="*/ 5734864 w 5734864"/>
              <a:gd name="connsiteY186" fmla="*/ 6858000 h 6858000"/>
              <a:gd name="connsiteX187" fmla="*/ 5734864 w 5734864"/>
              <a:gd name="connsiteY18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734864" h="6858000">
                <a:moveTo>
                  <a:pt x="5734864" y="0"/>
                </a:moveTo>
                <a:lnTo>
                  <a:pt x="771611" y="0"/>
                </a:lnTo>
                <a:cubicBezTo>
                  <a:pt x="771634" y="16369"/>
                  <a:pt x="771656" y="32739"/>
                  <a:pt x="771679" y="49108"/>
                </a:cubicBezTo>
                <a:cubicBezTo>
                  <a:pt x="775201" y="55622"/>
                  <a:pt x="788724" y="196721"/>
                  <a:pt x="794248" y="200968"/>
                </a:cubicBezTo>
                <a:lnTo>
                  <a:pt x="801749" y="414071"/>
                </a:lnTo>
                <a:cubicBezTo>
                  <a:pt x="807329" y="440933"/>
                  <a:pt x="835107" y="598697"/>
                  <a:pt x="818548" y="585467"/>
                </a:cubicBezTo>
                <a:cubicBezTo>
                  <a:pt x="856197" y="664140"/>
                  <a:pt x="837895" y="708473"/>
                  <a:pt x="857476" y="800623"/>
                </a:cubicBezTo>
                <a:cubicBezTo>
                  <a:pt x="822401" y="857344"/>
                  <a:pt x="855723" y="824571"/>
                  <a:pt x="851083" y="878903"/>
                </a:cubicBezTo>
                <a:cubicBezTo>
                  <a:pt x="884811" y="859448"/>
                  <a:pt x="834648" y="946397"/>
                  <a:pt x="873564" y="943826"/>
                </a:cubicBezTo>
                <a:cubicBezTo>
                  <a:pt x="871487" y="953795"/>
                  <a:pt x="868248" y="963533"/>
                  <a:pt x="864705" y="973328"/>
                </a:cubicBezTo>
                <a:lnTo>
                  <a:pt x="862869" y="978457"/>
                </a:lnTo>
                <a:lnTo>
                  <a:pt x="862233" y="998041"/>
                </a:lnTo>
                <a:lnTo>
                  <a:pt x="853665" y="1004750"/>
                </a:lnTo>
                <a:lnTo>
                  <a:pt x="847865" y="1070795"/>
                </a:lnTo>
                <a:cubicBezTo>
                  <a:pt x="870234" y="1110486"/>
                  <a:pt x="833172" y="1190441"/>
                  <a:pt x="862786" y="1238994"/>
                </a:cubicBezTo>
                <a:cubicBezTo>
                  <a:pt x="864699" y="1290599"/>
                  <a:pt x="860615" y="1347716"/>
                  <a:pt x="859345" y="1380427"/>
                </a:cubicBezTo>
                <a:cubicBezTo>
                  <a:pt x="845703" y="1396391"/>
                  <a:pt x="873184" y="1435525"/>
                  <a:pt x="855172" y="1435262"/>
                </a:cubicBezTo>
                <a:lnTo>
                  <a:pt x="860494" y="1453861"/>
                </a:lnTo>
                <a:lnTo>
                  <a:pt x="853731" y="1467047"/>
                </a:lnTo>
                <a:cubicBezTo>
                  <a:pt x="846549" y="1480528"/>
                  <a:pt x="841728" y="1491093"/>
                  <a:pt x="845847" y="1502307"/>
                </a:cubicBezTo>
                <a:lnTo>
                  <a:pt x="817613" y="1565166"/>
                </a:lnTo>
                <a:cubicBezTo>
                  <a:pt x="805468" y="1557258"/>
                  <a:pt x="816534" y="1596564"/>
                  <a:pt x="804223" y="1601941"/>
                </a:cubicBezTo>
                <a:cubicBezTo>
                  <a:pt x="794287" y="1604654"/>
                  <a:pt x="795328" y="1617209"/>
                  <a:pt x="791773" y="1627005"/>
                </a:cubicBezTo>
                <a:cubicBezTo>
                  <a:pt x="781684" y="1634393"/>
                  <a:pt x="772978" y="1683187"/>
                  <a:pt x="774645" y="1699922"/>
                </a:cubicBezTo>
                <a:cubicBezTo>
                  <a:pt x="785341" y="1746767"/>
                  <a:pt x="744845" y="1787099"/>
                  <a:pt x="752343" y="1824604"/>
                </a:cubicBezTo>
                <a:cubicBezTo>
                  <a:pt x="751502" y="1834578"/>
                  <a:pt x="749297" y="1842929"/>
                  <a:pt x="746254" y="1850222"/>
                </a:cubicBezTo>
                <a:lnTo>
                  <a:pt x="728600" y="1869603"/>
                </a:lnTo>
                <a:lnTo>
                  <a:pt x="724396" y="1883104"/>
                </a:lnTo>
                <a:lnTo>
                  <a:pt x="722165" y="1885924"/>
                </a:lnTo>
                <a:lnTo>
                  <a:pt x="721338" y="1887123"/>
                </a:lnTo>
                <a:lnTo>
                  <a:pt x="714840" y="1902274"/>
                </a:lnTo>
                <a:lnTo>
                  <a:pt x="722847" y="1929891"/>
                </a:lnTo>
                <a:lnTo>
                  <a:pt x="714660" y="1982709"/>
                </a:lnTo>
                <a:cubicBezTo>
                  <a:pt x="727725" y="2006201"/>
                  <a:pt x="714739" y="1997091"/>
                  <a:pt x="710759" y="2013010"/>
                </a:cubicBezTo>
                <a:cubicBezTo>
                  <a:pt x="707970" y="2027531"/>
                  <a:pt x="700788" y="2054714"/>
                  <a:pt x="697927" y="2069833"/>
                </a:cubicBezTo>
                <a:cubicBezTo>
                  <a:pt x="685211" y="2080229"/>
                  <a:pt x="698762" y="2088241"/>
                  <a:pt x="693594" y="2103731"/>
                </a:cubicBezTo>
                <a:cubicBezTo>
                  <a:pt x="688481" y="2110649"/>
                  <a:pt x="687183" y="2115973"/>
                  <a:pt x="691109" y="2124027"/>
                </a:cubicBezTo>
                <a:cubicBezTo>
                  <a:pt x="666413" y="2155740"/>
                  <a:pt x="688031" y="2144874"/>
                  <a:pt x="676593" y="2176182"/>
                </a:cubicBezTo>
                <a:cubicBezTo>
                  <a:pt x="665190" y="2202944"/>
                  <a:pt x="656416" y="2233857"/>
                  <a:pt x="633227" y="2258036"/>
                </a:cubicBezTo>
                <a:cubicBezTo>
                  <a:pt x="626930" y="2262191"/>
                  <a:pt x="623498" y="2274069"/>
                  <a:pt x="625564" y="2284567"/>
                </a:cubicBezTo>
                <a:cubicBezTo>
                  <a:pt x="625918" y="2286374"/>
                  <a:pt x="626427" y="2288071"/>
                  <a:pt x="627074" y="2289605"/>
                </a:cubicBezTo>
                <a:cubicBezTo>
                  <a:pt x="619029" y="2296628"/>
                  <a:pt x="616453" y="2303188"/>
                  <a:pt x="614574" y="2308717"/>
                </a:cubicBezTo>
                <a:lnTo>
                  <a:pt x="606890" y="2320662"/>
                </a:lnTo>
                <a:lnTo>
                  <a:pt x="605558" y="2327897"/>
                </a:lnTo>
                <a:lnTo>
                  <a:pt x="602202" y="2357749"/>
                </a:lnTo>
                <a:lnTo>
                  <a:pt x="600213" y="2364905"/>
                </a:lnTo>
                <a:lnTo>
                  <a:pt x="597160" y="2388351"/>
                </a:lnTo>
                <a:lnTo>
                  <a:pt x="597982" y="2402296"/>
                </a:lnTo>
                <a:lnTo>
                  <a:pt x="593150" y="2420015"/>
                </a:lnTo>
                <a:cubicBezTo>
                  <a:pt x="593044" y="2420926"/>
                  <a:pt x="592939" y="2421838"/>
                  <a:pt x="592833" y="2422749"/>
                </a:cubicBezTo>
                <a:lnTo>
                  <a:pt x="594479" y="2426002"/>
                </a:lnTo>
                <a:cubicBezTo>
                  <a:pt x="594168" y="2427683"/>
                  <a:pt x="593118" y="2429721"/>
                  <a:pt x="591963" y="2431950"/>
                </a:cubicBezTo>
                <a:cubicBezTo>
                  <a:pt x="591823" y="2432599"/>
                  <a:pt x="591684" y="2433248"/>
                  <a:pt x="591544" y="2433897"/>
                </a:cubicBezTo>
                <a:lnTo>
                  <a:pt x="589519" y="2451398"/>
                </a:lnTo>
                <a:cubicBezTo>
                  <a:pt x="589692" y="2452777"/>
                  <a:pt x="589864" y="2454157"/>
                  <a:pt x="590037" y="2455536"/>
                </a:cubicBezTo>
                <a:lnTo>
                  <a:pt x="588179" y="2462981"/>
                </a:lnTo>
                <a:lnTo>
                  <a:pt x="583434" y="2503991"/>
                </a:lnTo>
                <a:cubicBezTo>
                  <a:pt x="576530" y="2566058"/>
                  <a:pt x="570433" y="2625224"/>
                  <a:pt x="567942" y="2652936"/>
                </a:cubicBezTo>
                <a:cubicBezTo>
                  <a:pt x="570864" y="2658290"/>
                  <a:pt x="572739" y="2664095"/>
                  <a:pt x="573869" y="2670188"/>
                </a:cubicBezTo>
                <a:lnTo>
                  <a:pt x="575243" y="2688114"/>
                </a:lnTo>
                <a:lnTo>
                  <a:pt x="573824" y="2689856"/>
                </a:lnTo>
                <a:cubicBezTo>
                  <a:pt x="569972" y="2698471"/>
                  <a:pt x="569572" y="2704494"/>
                  <a:pt x="570699" y="2709353"/>
                </a:cubicBezTo>
                <a:lnTo>
                  <a:pt x="573192" y="2714527"/>
                </a:lnTo>
                <a:cubicBezTo>
                  <a:pt x="572809" y="2719080"/>
                  <a:pt x="572427" y="2723634"/>
                  <a:pt x="572044" y="2728187"/>
                </a:cubicBezTo>
                <a:cubicBezTo>
                  <a:pt x="572184" y="2737412"/>
                  <a:pt x="572325" y="2746638"/>
                  <a:pt x="572465" y="2755863"/>
                </a:cubicBezTo>
                <a:lnTo>
                  <a:pt x="570028" y="2760324"/>
                </a:lnTo>
                <a:lnTo>
                  <a:pt x="566748" y="2800948"/>
                </a:lnTo>
                <a:lnTo>
                  <a:pt x="565509" y="2801167"/>
                </a:lnTo>
                <a:cubicBezTo>
                  <a:pt x="562655" y="2802587"/>
                  <a:pt x="560408" y="2805381"/>
                  <a:pt x="559367" y="2811129"/>
                </a:cubicBezTo>
                <a:cubicBezTo>
                  <a:pt x="543471" y="2797318"/>
                  <a:pt x="552020" y="2812773"/>
                  <a:pt x="550354" y="2830949"/>
                </a:cubicBezTo>
                <a:cubicBezTo>
                  <a:pt x="525292" y="2813553"/>
                  <a:pt x="531129" y="2868192"/>
                  <a:pt x="514795" y="2872433"/>
                </a:cubicBezTo>
                <a:lnTo>
                  <a:pt x="509875" y="2923099"/>
                </a:lnTo>
                <a:lnTo>
                  <a:pt x="509577" y="2923197"/>
                </a:lnTo>
                <a:cubicBezTo>
                  <a:pt x="508704" y="2924865"/>
                  <a:pt x="508038" y="2927556"/>
                  <a:pt x="507597" y="2931868"/>
                </a:cubicBezTo>
                <a:cubicBezTo>
                  <a:pt x="507524" y="2934019"/>
                  <a:pt x="507452" y="2936171"/>
                  <a:pt x="507379" y="2938322"/>
                </a:cubicBezTo>
                <a:lnTo>
                  <a:pt x="504725" y="2954519"/>
                </a:lnTo>
                <a:lnTo>
                  <a:pt x="502018" y="2959643"/>
                </a:lnTo>
                <a:lnTo>
                  <a:pt x="498360" y="2961019"/>
                </a:lnTo>
                <a:lnTo>
                  <a:pt x="498483" y="2962590"/>
                </a:lnTo>
                <a:cubicBezTo>
                  <a:pt x="502388" y="2975027"/>
                  <a:pt x="510202" y="2980016"/>
                  <a:pt x="484403" y="2990538"/>
                </a:cubicBezTo>
                <a:cubicBezTo>
                  <a:pt x="489425" y="3018352"/>
                  <a:pt x="474337" y="3021029"/>
                  <a:pt x="463075" y="3055956"/>
                </a:cubicBezTo>
                <a:cubicBezTo>
                  <a:pt x="469487" y="3072485"/>
                  <a:pt x="464165" y="3083955"/>
                  <a:pt x="455013" y="3094482"/>
                </a:cubicBezTo>
                <a:cubicBezTo>
                  <a:pt x="453131" y="3130054"/>
                  <a:pt x="437643" y="3160106"/>
                  <a:pt x="428391" y="3198850"/>
                </a:cubicBezTo>
                <a:lnTo>
                  <a:pt x="401440" y="3307560"/>
                </a:lnTo>
                <a:lnTo>
                  <a:pt x="386076" y="3373943"/>
                </a:lnTo>
                <a:cubicBezTo>
                  <a:pt x="386236" y="3376061"/>
                  <a:pt x="380537" y="3378856"/>
                  <a:pt x="374726" y="3381364"/>
                </a:cubicBezTo>
                <a:lnTo>
                  <a:pt x="369145" y="3383729"/>
                </a:lnTo>
                <a:lnTo>
                  <a:pt x="364294" y="3414159"/>
                </a:lnTo>
                <a:lnTo>
                  <a:pt x="366450" y="3436925"/>
                </a:lnTo>
                <a:lnTo>
                  <a:pt x="351743" y="3521619"/>
                </a:lnTo>
                <a:lnTo>
                  <a:pt x="345784" y="3603757"/>
                </a:lnTo>
                <a:cubicBezTo>
                  <a:pt x="345255" y="3619979"/>
                  <a:pt x="344727" y="3636202"/>
                  <a:pt x="344198" y="3652424"/>
                </a:cubicBezTo>
                <a:lnTo>
                  <a:pt x="352450" y="3665222"/>
                </a:lnTo>
                <a:lnTo>
                  <a:pt x="342621" y="3700804"/>
                </a:lnTo>
                <a:lnTo>
                  <a:pt x="341514" y="3734774"/>
                </a:lnTo>
                <a:cubicBezTo>
                  <a:pt x="341212" y="3751567"/>
                  <a:pt x="340909" y="3768360"/>
                  <a:pt x="340607" y="3785153"/>
                </a:cubicBezTo>
                <a:cubicBezTo>
                  <a:pt x="340640" y="3786161"/>
                  <a:pt x="340674" y="3787169"/>
                  <a:pt x="340707" y="3788177"/>
                </a:cubicBezTo>
                <a:cubicBezTo>
                  <a:pt x="340592" y="3791719"/>
                  <a:pt x="340476" y="3795261"/>
                  <a:pt x="340361" y="3798803"/>
                </a:cubicBezTo>
                <a:cubicBezTo>
                  <a:pt x="340121" y="3812119"/>
                  <a:pt x="339882" y="3825434"/>
                  <a:pt x="339642" y="3838750"/>
                </a:cubicBezTo>
                <a:cubicBezTo>
                  <a:pt x="337363" y="3949044"/>
                  <a:pt x="361794" y="3960437"/>
                  <a:pt x="360295" y="4015196"/>
                </a:cubicBezTo>
                <a:lnTo>
                  <a:pt x="339043" y="4052778"/>
                </a:lnTo>
                <a:lnTo>
                  <a:pt x="339343" y="4096257"/>
                </a:lnTo>
                <a:cubicBezTo>
                  <a:pt x="362058" y="4159145"/>
                  <a:pt x="332404" y="4250479"/>
                  <a:pt x="340786" y="4321136"/>
                </a:cubicBezTo>
                <a:cubicBezTo>
                  <a:pt x="341421" y="4376624"/>
                  <a:pt x="344189" y="4407708"/>
                  <a:pt x="343158" y="4429174"/>
                </a:cubicBezTo>
                <a:cubicBezTo>
                  <a:pt x="340948" y="4436304"/>
                  <a:pt x="337887" y="4443121"/>
                  <a:pt x="334599" y="4449938"/>
                </a:cubicBezTo>
                <a:lnTo>
                  <a:pt x="332890" y="4453515"/>
                </a:lnTo>
                <a:lnTo>
                  <a:pt x="331105" y="4467941"/>
                </a:lnTo>
                <a:lnTo>
                  <a:pt x="324289" y="4471861"/>
                </a:lnTo>
                <a:lnTo>
                  <a:pt x="317079" y="4493468"/>
                </a:lnTo>
                <a:cubicBezTo>
                  <a:pt x="315353" y="4501584"/>
                  <a:pt x="314639" y="4510343"/>
                  <a:pt x="315557" y="4520067"/>
                </a:cubicBezTo>
                <a:cubicBezTo>
                  <a:pt x="315451" y="4525669"/>
                  <a:pt x="315346" y="4531270"/>
                  <a:pt x="315240" y="4536872"/>
                </a:cubicBezTo>
                <a:lnTo>
                  <a:pt x="316200" y="4538297"/>
                </a:lnTo>
                <a:cubicBezTo>
                  <a:pt x="316738" y="4541182"/>
                  <a:pt x="316785" y="4544563"/>
                  <a:pt x="317507" y="4547582"/>
                </a:cubicBezTo>
                <a:cubicBezTo>
                  <a:pt x="322716" y="4552468"/>
                  <a:pt x="324912" y="4582137"/>
                  <a:pt x="323078" y="4592102"/>
                </a:cubicBezTo>
                <a:cubicBezTo>
                  <a:pt x="314597" y="4619728"/>
                  <a:pt x="334923" y="4645745"/>
                  <a:pt x="328722" y="4667914"/>
                </a:cubicBezTo>
                <a:cubicBezTo>
                  <a:pt x="330810" y="4685069"/>
                  <a:pt x="333803" y="4690356"/>
                  <a:pt x="335597" y="4695035"/>
                </a:cubicBezTo>
                <a:lnTo>
                  <a:pt x="339485" y="4695979"/>
                </a:lnTo>
                <a:lnTo>
                  <a:pt x="341089" y="4704268"/>
                </a:lnTo>
                <a:lnTo>
                  <a:pt x="342177" y="4706060"/>
                </a:lnTo>
                <a:cubicBezTo>
                  <a:pt x="344268" y="4709474"/>
                  <a:pt x="346234" y="4712931"/>
                  <a:pt x="347751" y="4716754"/>
                </a:cubicBezTo>
                <a:lnTo>
                  <a:pt x="344125" y="4764669"/>
                </a:lnTo>
                <a:lnTo>
                  <a:pt x="340188" y="4779386"/>
                </a:lnTo>
                <a:lnTo>
                  <a:pt x="335146" y="4787491"/>
                </a:lnTo>
                <a:lnTo>
                  <a:pt x="319124" y="4843514"/>
                </a:lnTo>
                <a:lnTo>
                  <a:pt x="305956" y="4881505"/>
                </a:lnTo>
                <a:lnTo>
                  <a:pt x="301062" y="4889332"/>
                </a:lnTo>
                <a:lnTo>
                  <a:pt x="302141" y="4899400"/>
                </a:lnTo>
                <a:cubicBezTo>
                  <a:pt x="302767" y="4900706"/>
                  <a:pt x="303536" y="4901803"/>
                  <a:pt x="304424" y="4902664"/>
                </a:cubicBezTo>
                <a:lnTo>
                  <a:pt x="293123" y="4932769"/>
                </a:lnTo>
                <a:lnTo>
                  <a:pt x="292275" y="4936482"/>
                </a:lnTo>
                <a:lnTo>
                  <a:pt x="288304" y="4962325"/>
                </a:lnTo>
                <a:cubicBezTo>
                  <a:pt x="288009" y="4988948"/>
                  <a:pt x="287715" y="5015570"/>
                  <a:pt x="287420" y="5042193"/>
                </a:cubicBezTo>
                <a:cubicBezTo>
                  <a:pt x="295373" y="5039737"/>
                  <a:pt x="281659" y="5060438"/>
                  <a:pt x="287020" y="5065655"/>
                </a:cubicBezTo>
                <a:cubicBezTo>
                  <a:pt x="291675" y="5068928"/>
                  <a:pt x="288601" y="5075970"/>
                  <a:pt x="288488" y="5082216"/>
                </a:cubicBezTo>
                <a:cubicBezTo>
                  <a:pt x="292282" y="5088207"/>
                  <a:pt x="287008" y="5117775"/>
                  <a:pt x="282763" y="5127114"/>
                </a:cubicBezTo>
                <a:cubicBezTo>
                  <a:pt x="267723" y="5152218"/>
                  <a:pt x="280799" y="5182399"/>
                  <a:pt x="269316" y="5202682"/>
                </a:cubicBezTo>
                <a:cubicBezTo>
                  <a:pt x="267050" y="5219969"/>
                  <a:pt x="268614" y="5225841"/>
                  <a:pt x="269174" y="5230835"/>
                </a:cubicBezTo>
                <a:lnTo>
                  <a:pt x="272679" y="5232660"/>
                </a:lnTo>
                <a:lnTo>
                  <a:pt x="272160" y="5241150"/>
                </a:lnTo>
                <a:lnTo>
                  <a:pt x="272760" y="5243156"/>
                </a:lnTo>
                <a:cubicBezTo>
                  <a:pt x="273922" y="5246984"/>
                  <a:pt x="274952" y="5250824"/>
                  <a:pt x="275462" y="5254919"/>
                </a:cubicBezTo>
                <a:cubicBezTo>
                  <a:pt x="258407" y="5258851"/>
                  <a:pt x="276976" y="5290392"/>
                  <a:pt x="262897" y="5286259"/>
                </a:cubicBezTo>
                <a:cubicBezTo>
                  <a:pt x="262724" y="5309439"/>
                  <a:pt x="239612" y="5337531"/>
                  <a:pt x="252761" y="5357801"/>
                </a:cubicBezTo>
                <a:cubicBezTo>
                  <a:pt x="248775" y="5392256"/>
                  <a:pt x="247799" y="5423412"/>
                  <a:pt x="242360" y="5460080"/>
                </a:cubicBezTo>
                <a:cubicBezTo>
                  <a:pt x="232632" y="5488478"/>
                  <a:pt x="242025" y="5519143"/>
                  <a:pt x="229880" y="5539714"/>
                </a:cubicBezTo>
                <a:cubicBezTo>
                  <a:pt x="230558" y="5572454"/>
                  <a:pt x="222150" y="5613340"/>
                  <a:pt x="204283" y="5639080"/>
                </a:cubicBezTo>
                <a:cubicBezTo>
                  <a:pt x="201596" y="5674226"/>
                  <a:pt x="191051" y="5680198"/>
                  <a:pt x="198948" y="5710958"/>
                </a:cubicBezTo>
                <a:cubicBezTo>
                  <a:pt x="196338" y="5713534"/>
                  <a:pt x="194185" y="5716550"/>
                  <a:pt x="192367" y="5719859"/>
                </a:cubicBezTo>
                <a:lnTo>
                  <a:pt x="188035" y="5729935"/>
                </a:lnTo>
                <a:lnTo>
                  <a:pt x="188428" y="5731182"/>
                </a:lnTo>
                <a:lnTo>
                  <a:pt x="181635" y="5753538"/>
                </a:lnTo>
                <a:lnTo>
                  <a:pt x="169744" y="5796307"/>
                </a:lnTo>
                <a:lnTo>
                  <a:pt x="170351" y="5796644"/>
                </a:lnTo>
                <a:cubicBezTo>
                  <a:pt x="171558" y="5797954"/>
                  <a:pt x="172173" y="5799948"/>
                  <a:pt x="171559" y="5803435"/>
                </a:cubicBezTo>
                <a:cubicBezTo>
                  <a:pt x="182664" y="5798231"/>
                  <a:pt x="175075" y="5805646"/>
                  <a:pt x="172284" y="5816391"/>
                </a:cubicBezTo>
                <a:cubicBezTo>
                  <a:pt x="188911" y="5810703"/>
                  <a:pt x="174844" y="5841128"/>
                  <a:pt x="182542" y="5846382"/>
                </a:cubicBezTo>
                <a:cubicBezTo>
                  <a:pt x="180118" y="5854404"/>
                  <a:pt x="177856" y="5862781"/>
                  <a:pt x="175877" y="5871336"/>
                </a:cubicBezTo>
                <a:lnTo>
                  <a:pt x="174910" y="5876376"/>
                </a:lnTo>
                <a:lnTo>
                  <a:pt x="175047" y="5876483"/>
                </a:lnTo>
                <a:cubicBezTo>
                  <a:pt x="175167" y="5877594"/>
                  <a:pt x="174973" y="5879257"/>
                  <a:pt x="174335" y="5881814"/>
                </a:cubicBezTo>
                <a:lnTo>
                  <a:pt x="171273" y="5895339"/>
                </a:lnTo>
                <a:cubicBezTo>
                  <a:pt x="171401" y="5896476"/>
                  <a:pt x="171530" y="5897612"/>
                  <a:pt x="171658" y="5898749"/>
                </a:cubicBezTo>
                <a:lnTo>
                  <a:pt x="174658" y="5919558"/>
                </a:lnTo>
                <a:cubicBezTo>
                  <a:pt x="173958" y="5933601"/>
                  <a:pt x="171208" y="5962838"/>
                  <a:pt x="169099" y="5984417"/>
                </a:cubicBezTo>
                <a:cubicBezTo>
                  <a:pt x="162916" y="6005205"/>
                  <a:pt x="164971" y="6025162"/>
                  <a:pt x="162007" y="6049043"/>
                </a:cubicBezTo>
                <a:cubicBezTo>
                  <a:pt x="150795" y="6073830"/>
                  <a:pt x="160091" y="6088483"/>
                  <a:pt x="156875" y="6114000"/>
                </a:cubicBezTo>
                <a:cubicBezTo>
                  <a:pt x="141597" y="6134477"/>
                  <a:pt x="163381" y="6133378"/>
                  <a:pt x="165441" y="6146938"/>
                </a:cubicBezTo>
                <a:lnTo>
                  <a:pt x="165177" y="6150658"/>
                </a:lnTo>
                <a:lnTo>
                  <a:pt x="161772" y="6160011"/>
                </a:lnTo>
                <a:lnTo>
                  <a:pt x="160051" y="6163393"/>
                </a:lnTo>
                <a:cubicBezTo>
                  <a:pt x="159032" y="6165775"/>
                  <a:pt x="158564" y="6167421"/>
                  <a:pt x="158473" y="6168628"/>
                </a:cubicBezTo>
                <a:cubicBezTo>
                  <a:pt x="158506" y="6168685"/>
                  <a:pt x="158540" y="6168742"/>
                  <a:pt x="158573" y="6168799"/>
                </a:cubicBezTo>
                <a:lnTo>
                  <a:pt x="146463" y="6196671"/>
                </a:lnTo>
                <a:cubicBezTo>
                  <a:pt x="152348" y="6205503"/>
                  <a:pt x="134460" y="6231012"/>
                  <a:pt x="150209" y="6232365"/>
                </a:cubicBezTo>
                <a:cubicBezTo>
                  <a:pt x="145821" y="6242321"/>
                  <a:pt x="137774" y="6246719"/>
                  <a:pt x="148544" y="6246162"/>
                </a:cubicBezTo>
                <a:cubicBezTo>
                  <a:pt x="147378" y="6249522"/>
                  <a:pt x="147566" y="6251866"/>
                  <a:pt x="148403" y="6253754"/>
                </a:cubicBezTo>
                <a:lnTo>
                  <a:pt x="138880" y="6276449"/>
                </a:lnTo>
                <a:cubicBezTo>
                  <a:pt x="138814" y="6277540"/>
                  <a:pt x="138749" y="6278630"/>
                  <a:pt x="138683" y="6279721"/>
                </a:cubicBezTo>
                <a:lnTo>
                  <a:pt x="130721" y="6293675"/>
                </a:lnTo>
                <a:lnTo>
                  <a:pt x="120717" y="6313967"/>
                </a:lnTo>
                <a:cubicBezTo>
                  <a:pt x="120758" y="6314457"/>
                  <a:pt x="120800" y="6314947"/>
                  <a:pt x="120841" y="6315437"/>
                </a:cubicBezTo>
                <a:lnTo>
                  <a:pt x="115208" y="6324024"/>
                </a:lnTo>
                <a:cubicBezTo>
                  <a:pt x="113007" y="6326672"/>
                  <a:pt x="103991" y="6364381"/>
                  <a:pt x="101217" y="6365923"/>
                </a:cubicBezTo>
                <a:lnTo>
                  <a:pt x="74946" y="6556817"/>
                </a:lnTo>
                <a:cubicBezTo>
                  <a:pt x="55357" y="6665926"/>
                  <a:pt x="35695" y="6744075"/>
                  <a:pt x="16001" y="6808678"/>
                </a:cubicBezTo>
                <a:lnTo>
                  <a:pt x="0" y="6858000"/>
                </a:lnTo>
                <a:lnTo>
                  <a:pt x="5734864" y="6858000"/>
                </a:lnTo>
                <a:lnTo>
                  <a:pt x="5734864"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2643CEB8-12A4-43A7-7B53-D23A2A88A4E4}"/>
              </a:ext>
            </a:extLst>
          </p:cNvPr>
          <p:cNvSpPr>
            <a:spLocks noGrp="1"/>
          </p:cNvSpPr>
          <p:nvPr>
            <p:ph type="title"/>
          </p:nvPr>
        </p:nvSpPr>
        <p:spPr>
          <a:xfrm>
            <a:off x="773408" y="992094"/>
            <a:ext cx="3616913" cy="2795160"/>
          </a:xfrm>
        </p:spPr>
        <p:txBody>
          <a:bodyPr vert="horz" lIns="91440" tIns="45720" rIns="91440" bIns="45720" rtlCol="0" anchor="b">
            <a:normAutofit/>
          </a:bodyPr>
          <a:lstStyle/>
          <a:p>
            <a:pPr algn="ctr"/>
            <a:r>
              <a:rPr lang="en-US" kern="1200">
                <a:solidFill>
                  <a:schemeClr val="tx1"/>
                </a:solidFill>
                <a:latin typeface="+mj-lt"/>
                <a:ea typeface="+mj-ea"/>
                <a:cs typeface="+mj-cs"/>
              </a:rPr>
              <a:t>TR-dage på Frederiksberg</a:t>
            </a:r>
          </a:p>
        </p:txBody>
      </p:sp>
      <p:pic>
        <p:nvPicPr>
          <p:cNvPr id="11" name="Pladsholder til indhold 10" descr="Et billede, der indeholder tekst, skærmbillede, Font/skrifttype, Tryk&#10;&#10;Automatisk genereret beskrivelse">
            <a:extLst>
              <a:ext uri="{FF2B5EF4-FFF2-40B4-BE49-F238E27FC236}">
                <a16:creationId xmlns:a16="http://schemas.microsoft.com/office/drawing/2014/main" id="{9A4EA1C2-75FC-6AC1-7D2C-51C8BB4EE28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758295" y="578738"/>
            <a:ext cx="3983561" cy="5670549"/>
          </a:xfrm>
          <a:prstGeom prst="rect">
            <a:avLst/>
          </a:prstGeom>
        </p:spPr>
      </p:pic>
    </p:spTree>
    <p:extLst>
      <p:ext uri="{BB962C8B-B14F-4D97-AF65-F5344CB8AC3E}">
        <p14:creationId xmlns:p14="http://schemas.microsoft.com/office/powerpoint/2010/main" val="18611130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43C9E2-5F45-9CDF-8B06-08BF032E1470}"/>
              </a:ext>
            </a:extLst>
          </p:cNvPr>
          <p:cNvSpPr>
            <a:spLocks noGrp="1"/>
          </p:cNvSpPr>
          <p:nvPr>
            <p:ph type="title"/>
          </p:nvPr>
        </p:nvSpPr>
        <p:spPr>
          <a:xfrm>
            <a:off x="5297762" y="329184"/>
            <a:ext cx="6251110" cy="1783080"/>
          </a:xfrm>
        </p:spPr>
        <p:txBody>
          <a:bodyPr anchor="b">
            <a:normAutofit/>
          </a:bodyPr>
          <a:lstStyle/>
          <a:p>
            <a:r>
              <a:rPr lang="da-DK" sz="5400" dirty="0"/>
              <a:t>Nyt fra Område MED </a:t>
            </a:r>
          </a:p>
        </p:txBody>
      </p:sp>
      <p:pic>
        <p:nvPicPr>
          <p:cNvPr id="5" name="Picture 4" descr="Det største billede af en repræsentation af netværk med Sticky figurer.">
            <a:extLst>
              <a:ext uri="{FF2B5EF4-FFF2-40B4-BE49-F238E27FC236}">
                <a16:creationId xmlns:a16="http://schemas.microsoft.com/office/drawing/2014/main" id="{468F449D-F113-A651-3198-E810A9096D92}"/>
              </a:ext>
            </a:extLst>
          </p:cNvPr>
          <p:cNvPicPr>
            <a:picLocks noChangeAspect="1"/>
          </p:cNvPicPr>
          <p:nvPr/>
        </p:nvPicPr>
        <p:blipFill rotWithShape="1">
          <a:blip r:embed="rId2"/>
          <a:srcRect l="39336" r="15503"/>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3" name="Pladsholder til indhold 2">
            <a:extLst>
              <a:ext uri="{FF2B5EF4-FFF2-40B4-BE49-F238E27FC236}">
                <a16:creationId xmlns:a16="http://schemas.microsoft.com/office/drawing/2014/main" id="{1670C31F-D5AD-F35A-852C-A1DBA76DC0FC}"/>
              </a:ext>
            </a:extLst>
          </p:cNvPr>
          <p:cNvSpPr>
            <a:spLocks noGrp="1"/>
          </p:cNvSpPr>
          <p:nvPr>
            <p:ph idx="1"/>
          </p:nvPr>
        </p:nvSpPr>
        <p:spPr>
          <a:xfrm>
            <a:off x="5297762" y="2706624"/>
            <a:ext cx="6251110" cy="3483864"/>
          </a:xfrm>
        </p:spPr>
        <p:txBody>
          <a:bodyPr>
            <a:normAutofit/>
          </a:bodyPr>
          <a:lstStyle/>
          <a:p>
            <a:pPr algn="l"/>
            <a:endParaRPr lang="da-DK" sz="1800" b="0" i="0" u="none" strike="noStrike" baseline="0" dirty="0">
              <a:solidFill>
                <a:srgbClr val="000000"/>
              </a:solidFill>
            </a:endParaRPr>
          </a:p>
          <a:p>
            <a:pPr marL="0" indent="0" algn="l">
              <a:buNone/>
            </a:pPr>
            <a:r>
              <a:rPr lang="da-DK" sz="1800" b="0" i="0" u="none" strike="noStrike" baseline="0" dirty="0">
                <a:solidFill>
                  <a:srgbClr val="000000"/>
                </a:solidFill>
                <a:latin typeface="Arial" panose="020B0604020202020204" pitchFamily="34" charset="0"/>
              </a:rPr>
              <a:t>MED møde 29.8.24</a:t>
            </a:r>
          </a:p>
          <a:p>
            <a:r>
              <a:rPr lang="da-DK" sz="1800" b="1" i="0" u="none" strike="noStrike" baseline="0" dirty="0">
                <a:solidFill>
                  <a:srgbClr val="000000"/>
                </a:solidFill>
                <a:latin typeface="Arial" panose="020B0604020202020204" pitchFamily="34" charset="0"/>
              </a:rPr>
              <a:t>Budget 2025</a:t>
            </a:r>
          </a:p>
          <a:p>
            <a:r>
              <a:rPr lang="da-DK" sz="1800" b="1" dirty="0">
                <a:solidFill>
                  <a:srgbClr val="000000"/>
                </a:solidFill>
                <a:latin typeface="Arial" panose="020B0604020202020204" pitchFamily="34" charset="0"/>
              </a:rPr>
              <a:t>Tidsregistrering</a:t>
            </a:r>
          </a:p>
          <a:p>
            <a:r>
              <a:rPr lang="da-DK" sz="1800" b="1" dirty="0">
                <a:solidFill>
                  <a:srgbClr val="000000"/>
                </a:solidFill>
                <a:latin typeface="Arial" panose="020B0604020202020204" pitchFamily="34" charset="0"/>
              </a:rPr>
              <a:t>Procedure ved ret til fuld tid</a:t>
            </a:r>
            <a:endParaRPr lang="da-DK" sz="1800" b="1" i="0" u="none" strike="noStrike" baseline="0" dirty="0">
              <a:solidFill>
                <a:srgbClr val="000000"/>
              </a:solidFill>
              <a:latin typeface="Arial" panose="020B0604020202020204" pitchFamily="34" charset="0"/>
            </a:endParaRPr>
          </a:p>
          <a:p>
            <a:pPr marL="0" indent="0" algn="l">
              <a:buNone/>
            </a:pPr>
            <a:r>
              <a:rPr lang="da-DK" sz="1800" b="0" i="0" u="none" strike="noStrike" baseline="0" dirty="0">
                <a:solidFill>
                  <a:srgbClr val="000000"/>
                </a:solidFill>
              </a:rPr>
              <a:t>MED møde 7.10.24</a:t>
            </a:r>
          </a:p>
          <a:p>
            <a:pPr algn="l">
              <a:buFontTx/>
              <a:buChar char="-"/>
            </a:pPr>
            <a:r>
              <a:rPr lang="da-DK" sz="1800" b="1" dirty="0">
                <a:effectLst/>
                <a:latin typeface="Arial" panose="020B0604020202020204" pitchFamily="34" charset="0"/>
                <a:ea typeface="Times New Roman" panose="02020603050405020304" pitchFamily="18" charset="0"/>
                <a:cs typeface="Times New Roman" panose="02020603050405020304" pitchFamily="18" charset="0"/>
              </a:rPr>
              <a:t>stærke børnefællesskaber </a:t>
            </a:r>
          </a:p>
          <a:p>
            <a:pPr algn="l">
              <a:buFontTx/>
              <a:buChar char="-"/>
            </a:pPr>
            <a:r>
              <a:rPr lang="da-DK" sz="1800" b="1" dirty="0">
                <a:effectLst/>
                <a:latin typeface="Arial" panose="020B0604020202020204" pitchFamily="34" charset="0"/>
                <a:ea typeface="Times New Roman" panose="02020603050405020304" pitchFamily="18" charset="0"/>
                <a:cs typeface="Times New Roman" panose="02020603050405020304" pitchFamily="18" charset="0"/>
              </a:rPr>
              <a:t>Materialepakke vedrørende krænkende handlinger</a:t>
            </a:r>
          </a:p>
          <a:p>
            <a:pPr algn="l">
              <a:buFontTx/>
              <a:buChar char="-"/>
            </a:pPr>
            <a:r>
              <a:rPr lang="da-DK" sz="1800" b="1" dirty="0">
                <a:effectLst/>
                <a:latin typeface="Arial" panose="020B0604020202020204" pitchFamily="34" charset="0"/>
                <a:ea typeface="Times New Roman" panose="02020603050405020304" pitchFamily="18" charset="0"/>
                <a:cs typeface="Times New Roman" panose="02020603050405020304" pitchFamily="18" charset="0"/>
              </a:rPr>
              <a:t>planlægning af temadag i BUO Område-MED </a:t>
            </a:r>
            <a:endParaRPr lang="da-DK" sz="1800" b="0" i="0" u="none" strike="noStrike" baseline="0" dirty="0">
              <a:solidFill>
                <a:srgbClr val="000000"/>
              </a:solidFill>
            </a:endParaRPr>
          </a:p>
          <a:p>
            <a:pPr algn="l"/>
            <a:endParaRPr lang="da-DK" sz="1800" b="0" i="0" u="none" strike="noStrike" baseline="0" dirty="0">
              <a:solidFill>
                <a:srgbClr val="000000"/>
              </a:solidFill>
            </a:endParaRPr>
          </a:p>
          <a:p>
            <a:endParaRPr lang="da-DK" sz="1800" b="0" i="0" u="none" strike="noStrike" baseline="0" dirty="0">
              <a:solidFill>
                <a:srgbClr val="000000"/>
              </a:solidFill>
            </a:endParaRPr>
          </a:p>
          <a:p>
            <a:pPr algn="l"/>
            <a:endParaRPr lang="da-DK" sz="1800" b="0" i="0" u="none" strike="noStrike" baseline="0" dirty="0">
              <a:solidFill>
                <a:srgbClr val="000000"/>
              </a:solidFill>
              <a:latin typeface="Arial" panose="020B0604020202020204" pitchFamily="34" charset="0"/>
            </a:endParaRPr>
          </a:p>
          <a:p>
            <a:pPr marL="0" indent="0">
              <a:buNone/>
            </a:pPr>
            <a:endParaRPr lang="da-DK" sz="2200" dirty="0"/>
          </a:p>
        </p:txBody>
      </p:sp>
    </p:spTree>
    <p:extLst>
      <p:ext uri="{BB962C8B-B14F-4D97-AF65-F5344CB8AC3E}">
        <p14:creationId xmlns:p14="http://schemas.microsoft.com/office/powerpoint/2010/main" val="26646552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15">
            <a:extLst>
              <a:ext uri="{FF2B5EF4-FFF2-40B4-BE49-F238E27FC236}">
                <a16:creationId xmlns:a16="http://schemas.microsoft.com/office/drawing/2014/main" id="{428D436F-9ACD-4C92-AFC8-C934C527A6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6000" cy="6858000"/>
          </a:xfrm>
          <a:prstGeom prst="rect">
            <a:avLst/>
          </a:pr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17">
            <a:extLst>
              <a:ext uri="{FF2B5EF4-FFF2-40B4-BE49-F238E27FC236}">
                <a16:creationId xmlns:a16="http://schemas.microsoft.com/office/drawing/2014/main" id="{090538E0-A884-4E60-A6AB-77D830E2FC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3478" y="0"/>
            <a:ext cx="465738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753587E3-D1DB-1D9A-371E-4DFA417660B6}"/>
              </a:ext>
            </a:extLst>
          </p:cNvPr>
          <p:cNvSpPr>
            <a:spLocks noGrp="1"/>
          </p:cNvSpPr>
          <p:nvPr>
            <p:ph type="title"/>
          </p:nvPr>
        </p:nvSpPr>
        <p:spPr>
          <a:xfrm>
            <a:off x="1901162" y="3050434"/>
            <a:ext cx="3722933" cy="757130"/>
          </a:xfrm>
          <a:ln w="25400" cap="sq">
            <a:solidFill>
              <a:srgbClr val="FFFFFF"/>
            </a:solidFill>
            <a:miter lim="800000"/>
          </a:ln>
        </p:spPr>
        <p:txBody>
          <a:bodyPr wrap="square">
            <a:normAutofit/>
          </a:bodyPr>
          <a:lstStyle/>
          <a:p>
            <a:pPr algn="ctr"/>
            <a:r>
              <a:rPr lang="da-DK" sz="2800">
                <a:solidFill>
                  <a:srgbClr val="FFFFFF"/>
                </a:solidFill>
              </a:rPr>
              <a:t>APV</a:t>
            </a:r>
          </a:p>
        </p:txBody>
      </p:sp>
      <p:sp>
        <p:nvSpPr>
          <p:cNvPr id="27" name="Rectangle 19">
            <a:extLst>
              <a:ext uri="{FF2B5EF4-FFF2-40B4-BE49-F238E27FC236}">
                <a16:creationId xmlns:a16="http://schemas.microsoft.com/office/drawing/2014/main" id="{DB0D7DD0-1C67-4D4C-9E06-678233DB84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53478" cy="6858000"/>
          </a:xfrm>
          <a:prstGeom prst="rect">
            <a:avLst/>
          </a:prstGeom>
          <a:solidFill>
            <a:srgbClr val="40404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ladsholder til indhold 2">
            <a:extLst>
              <a:ext uri="{FF2B5EF4-FFF2-40B4-BE49-F238E27FC236}">
                <a16:creationId xmlns:a16="http://schemas.microsoft.com/office/drawing/2014/main" id="{7F42567B-EC7F-52A5-5210-B78DE5BACEC9}"/>
              </a:ext>
            </a:extLst>
          </p:cNvPr>
          <p:cNvSpPr>
            <a:spLocks noGrp="1"/>
          </p:cNvSpPr>
          <p:nvPr>
            <p:ph sz="half" idx="1"/>
          </p:nvPr>
        </p:nvSpPr>
        <p:spPr>
          <a:xfrm>
            <a:off x="6574536" y="640080"/>
            <a:ext cx="5053066" cy="2546604"/>
          </a:xfrm>
        </p:spPr>
        <p:txBody>
          <a:bodyPr>
            <a:normAutofit/>
          </a:bodyPr>
          <a:lstStyle/>
          <a:p>
            <a:pPr marL="0" indent="0">
              <a:buNone/>
            </a:pPr>
            <a:r>
              <a:rPr lang="da-DK" sz="1700" b="1">
                <a:effectLst/>
                <a:latin typeface="Arial" panose="020B0604020202020204" pitchFamily="34" charset="0"/>
                <a:ea typeface="Calibri" panose="020F0502020204030204" pitchFamily="34" charset="0"/>
              </a:rPr>
              <a:t>Processen for APV sættes nu i gang!</a:t>
            </a:r>
            <a:endParaRPr lang="da-DK" sz="1700">
              <a:effectLst/>
              <a:latin typeface="Calibri" panose="020F0502020204030204" pitchFamily="34" charset="0"/>
              <a:ea typeface="Calibri" panose="020F0502020204030204" pitchFamily="34" charset="0"/>
            </a:endParaRPr>
          </a:p>
          <a:p>
            <a:pPr marL="0" indent="0">
              <a:buNone/>
            </a:pPr>
            <a:r>
              <a:rPr lang="da-DK" sz="1700">
                <a:effectLst/>
                <a:latin typeface="Arial" panose="020B0604020202020204" pitchFamily="34" charset="0"/>
                <a:ea typeface="Calibri" panose="020F0502020204030204" pitchFamily="34" charset="0"/>
              </a:rPr>
              <a:t>Det betyder, at jeres lokale MED-udvalg skal trække i arbejdstøjet. En stor del af APV-arbejdet består af kortlægningen af arbejdsmiljøet og der har vi ligesom sidst en fælles obligatorisk APV- og trivselsundersøgelse, som alle kommunale arbejdspladser skal benytte (og alle private/selvejende er velkommen til at benytte).</a:t>
            </a:r>
            <a:endParaRPr lang="da-DK" sz="1700">
              <a:effectLst/>
              <a:latin typeface="Calibri" panose="020F0502020204030204" pitchFamily="34" charset="0"/>
              <a:ea typeface="Calibri" panose="020F0502020204030204" pitchFamily="34" charset="0"/>
            </a:endParaRPr>
          </a:p>
          <a:p>
            <a:endParaRPr lang="da-DK" sz="1700"/>
          </a:p>
        </p:txBody>
      </p:sp>
      <p:sp>
        <p:nvSpPr>
          <p:cNvPr id="4" name="Pladsholder til indhold 3">
            <a:extLst>
              <a:ext uri="{FF2B5EF4-FFF2-40B4-BE49-F238E27FC236}">
                <a16:creationId xmlns:a16="http://schemas.microsoft.com/office/drawing/2014/main" id="{0E462967-5E05-A153-4E2F-1F5D3BBBCD85}"/>
              </a:ext>
            </a:extLst>
          </p:cNvPr>
          <p:cNvSpPr>
            <a:spLocks noGrp="1"/>
          </p:cNvSpPr>
          <p:nvPr>
            <p:ph sz="half" idx="2"/>
          </p:nvPr>
        </p:nvSpPr>
        <p:spPr>
          <a:xfrm>
            <a:off x="6570204" y="3671315"/>
            <a:ext cx="5057398" cy="2546605"/>
          </a:xfrm>
        </p:spPr>
        <p:txBody>
          <a:bodyPr>
            <a:normAutofit/>
          </a:bodyPr>
          <a:lstStyle/>
          <a:p>
            <a:pPr marL="0" indent="0">
              <a:buNone/>
            </a:pPr>
            <a:r>
              <a:rPr lang="da-DK" sz="1100" b="1">
                <a:effectLst/>
                <a:latin typeface="Arial" panose="020B0604020202020204" pitchFamily="34" charset="0"/>
                <a:ea typeface="Calibri" panose="020F0502020204030204" pitchFamily="34" charset="0"/>
              </a:rPr>
              <a:t>Senest den 30. september skal alle lokale MED-udvalg melde svaret ind til HR på følgende spørgsmål</a:t>
            </a:r>
            <a:r>
              <a:rPr lang="da-DK" sz="1100">
                <a:effectLst/>
                <a:latin typeface="Arial" panose="020B0604020202020204" pitchFamily="34" charset="0"/>
                <a:ea typeface="Calibri" panose="020F0502020204030204" pitchFamily="34" charset="0"/>
              </a:rPr>
              <a:t>:</a:t>
            </a:r>
            <a:endParaRPr lang="da-DK" sz="1100">
              <a:effectLst/>
              <a:latin typeface="Calibri" panose="020F0502020204030204" pitchFamily="34" charset="0"/>
              <a:ea typeface="Calibri" panose="020F0502020204030204" pitchFamily="34" charset="0"/>
            </a:endParaRPr>
          </a:p>
          <a:p>
            <a:pPr marL="342900" lvl="0" indent="-342900">
              <a:buFont typeface="Arial" panose="020B0604020202020204" pitchFamily="34" charset="0"/>
              <a:buChar char="•"/>
            </a:pPr>
            <a:r>
              <a:rPr lang="da-DK" sz="1100">
                <a:effectLst/>
                <a:latin typeface="Arial" panose="020B0604020202020204" pitchFamily="34" charset="0"/>
                <a:ea typeface="Times New Roman" panose="02020603050405020304" pitchFamily="18" charset="0"/>
              </a:rPr>
              <a:t>Vil I gennemføre undersøgelsen anonymt eller ikke-anonymt?</a:t>
            </a:r>
            <a:endParaRPr lang="da-DK" sz="1100">
              <a:effectLst/>
              <a:latin typeface="Calibri" panose="020F0502020204030204" pitchFamily="34" charset="0"/>
              <a:ea typeface="Calibri" panose="020F0502020204030204" pitchFamily="34" charset="0"/>
            </a:endParaRPr>
          </a:p>
          <a:p>
            <a:pPr marL="342900" lvl="0" indent="-342900">
              <a:buFont typeface="Arial" panose="020B0604020202020204" pitchFamily="34" charset="0"/>
              <a:buChar char="•"/>
            </a:pPr>
            <a:r>
              <a:rPr lang="da-DK" sz="1100">
                <a:effectLst/>
                <a:latin typeface="Arial" panose="020B0604020202020204" pitchFamily="34" charset="0"/>
                <a:ea typeface="Times New Roman" panose="02020603050405020304" pitchFamily="18" charset="0"/>
              </a:rPr>
              <a:t>Vil I koble ekstra spørgerammer om fysisk arbejdsmiljø og/eller spørgeramme om større forandringer til APV- og trivselsundersøgelsen?</a:t>
            </a:r>
            <a:endParaRPr lang="da-DK" sz="1100">
              <a:effectLst/>
              <a:latin typeface="Calibri" panose="020F0502020204030204" pitchFamily="34" charset="0"/>
              <a:ea typeface="Calibri" panose="020F0502020204030204" pitchFamily="34" charset="0"/>
            </a:endParaRPr>
          </a:p>
          <a:p>
            <a:pPr marL="342900" lvl="0" indent="-342900">
              <a:buFont typeface="Arial" panose="020B0604020202020204" pitchFamily="34" charset="0"/>
              <a:buChar char="•"/>
            </a:pPr>
            <a:r>
              <a:rPr lang="da-DK" sz="1100">
                <a:effectLst/>
                <a:latin typeface="Arial" panose="020B0604020202020204" pitchFamily="34" charset="0"/>
                <a:ea typeface="Times New Roman" panose="02020603050405020304" pitchFamily="18" charset="0"/>
              </a:rPr>
              <a:t>Vil I gerne tilføje jeres egne spørgsmål til undersøgelsen? (maksimalt 5-10 spørgsmål).</a:t>
            </a:r>
            <a:endParaRPr lang="da-DK" sz="1100">
              <a:effectLst/>
              <a:latin typeface="Calibri" panose="020F0502020204030204" pitchFamily="34" charset="0"/>
              <a:ea typeface="Calibri" panose="020F0502020204030204" pitchFamily="34" charset="0"/>
            </a:endParaRPr>
          </a:p>
          <a:p>
            <a:pPr marL="342900" lvl="0" indent="-342900">
              <a:buFont typeface="Arial" panose="020B0604020202020204" pitchFamily="34" charset="0"/>
              <a:buChar char="•"/>
            </a:pPr>
            <a:r>
              <a:rPr lang="da-DK" sz="1100">
                <a:effectLst/>
                <a:latin typeface="Arial" panose="020B0604020202020204" pitchFamily="34" charset="0"/>
                <a:ea typeface="Times New Roman" panose="02020603050405020304" pitchFamily="18" charset="0"/>
              </a:rPr>
              <a:t>Hvilke enheder (grupper, teams, afdelinger…) på arbejdspladsen vil I have undersøgelsen opdelt i?</a:t>
            </a:r>
            <a:endParaRPr lang="da-DK" sz="1100">
              <a:effectLst/>
              <a:latin typeface="Calibri" panose="020F0502020204030204" pitchFamily="34" charset="0"/>
              <a:ea typeface="Calibri" panose="020F0502020204030204" pitchFamily="34" charset="0"/>
            </a:endParaRPr>
          </a:p>
          <a:p>
            <a:pPr marL="342900" lvl="0" indent="-342900">
              <a:buFont typeface="Arial" panose="020B0604020202020204" pitchFamily="34" charset="0"/>
              <a:buChar char="•"/>
            </a:pPr>
            <a:r>
              <a:rPr lang="da-DK" sz="1100">
                <a:effectLst/>
                <a:latin typeface="Arial" panose="020B0604020202020204" pitchFamily="34" charset="0"/>
                <a:ea typeface="Times New Roman" panose="02020603050405020304" pitchFamily="18" charset="0"/>
              </a:rPr>
              <a:t>Navn og e-mail på kontaktperson.</a:t>
            </a:r>
            <a:endParaRPr lang="da-DK" sz="1100">
              <a:effectLst/>
              <a:latin typeface="Calibri" panose="020F0502020204030204" pitchFamily="34" charset="0"/>
              <a:ea typeface="Calibri" panose="020F0502020204030204" pitchFamily="34" charset="0"/>
            </a:endParaRPr>
          </a:p>
          <a:p>
            <a:endParaRPr lang="da-DK" sz="1100"/>
          </a:p>
        </p:txBody>
      </p:sp>
    </p:spTree>
    <p:extLst>
      <p:ext uri="{BB962C8B-B14F-4D97-AF65-F5344CB8AC3E}">
        <p14:creationId xmlns:p14="http://schemas.microsoft.com/office/powerpoint/2010/main" val="24807195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34F1179-B481-4F9E-BCA3-AFB972070F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49BD845C-0B6A-11FC-EBFD-02251F78DF8C}"/>
              </a:ext>
            </a:extLst>
          </p:cNvPr>
          <p:cNvSpPr>
            <a:spLocks noGrp="1"/>
          </p:cNvSpPr>
          <p:nvPr>
            <p:ph type="ctrTitle"/>
          </p:nvPr>
        </p:nvSpPr>
        <p:spPr>
          <a:xfrm>
            <a:off x="1285241" y="1008993"/>
            <a:ext cx="9231410" cy="3542045"/>
          </a:xfrm>
        </p:spPr>
        <p:txBody>
          <a:bodyPr anchor="b">
            <a:normAutofit/>
          </a:bodyPr>
          <a:lstStyle/>
          <a:p>
            <a:pPr algn="l"/>
            <a:r>
              <a:rPr lang="da-DK" sz="11500"/>
              <a:t>Nyt fra Anne og Jannike</a:t>
            </a:r>
          </a:p>
        </p:txBody>
      </p:sp>
      <p:sp>
        <p:nvSpPr>
          <p:cNvPr id="3" name="Undertitel 2">
            <a:extLst>
              <a:ext uri="{FF2B5EF4-FFF2-40B4-BE49-F238E27FC236}">
                <a16:creationId xmlns:a16="http://schemas.microsoft.com/office/drawing/2014/main" id="{7FE947EC-2AE1-D91E-E2ED-9F60FB21F9AA}"/>
              </a:ext>
            </a:extLst>
          </p:cNvPr>
          <p:cNvSpPr>
            <a:spLocks noGrp="1"/>
          </p:cNvSpPr>
          <p:nvPr>
            <p:ph type="subTitle" idx="1"/>
          </p:nvPr>
        </p:nvSpPr>
        <p:spPr>
          <a:xfrm>
            <a:off x="1285241" y="4582814"/>
            <a:ext cx="7132335" cy="1312657"/>
          </a:xfrm>
        </p:spPr>
        <p:txBody>
          <a:bodyPr anchor="t">
            <a:normAutofit/>
          </a:bodyPr>
          <a:lstStyle/>
          <a:p>
            <a:pPr algn="l"/>
            <a:endParaRPr lang="da-DK"/>
          </a:p>
        </p:txBody>
      </p:sp>
    </p:spTree>
    <p:extLst>
      <p:ext uri="{BB962C8B-B14F-4D97-AF65-F5344CB8AC3E}">
        <p14:creationId xmlns:p14="http://schemas.microsoft.com/office/powerpoint/2010/main" val="17954084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o4bLaAF0DUQ1DIp4uUX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Z05S4xcOAUsimIO8GbM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jT1qHEstO_mGSHwPvSG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lmIkekxYlECTHesvggu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yO5SW1DB5QQKWJIu1XK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jyvto.UEJiUvV2UwgQm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pSKXqGZjujbEI9P9taz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rs54Z5EAGEn3zbUL2jS7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Xlpf3L8wIW23Lb2sMt1b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rl4EQ5piPHPpXbmIvRe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fLOdlCvMZyJMVAkoYbS9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9OMihD4W7Ke7OJmCElE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3mCPVT8MvLDzXi7yIJp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lrRZ4UMuUOAP6aMsFpy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on2wvJqkFSVsMrSiZ4g1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ouF0JNRN8HIMhlVBnc62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cYCABoCG4FOTGvDSsU8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6nQ2LWeJU3ZfQVxIfcZ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I.HXWmLD.2obaZpTFXz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hdmQlN_Lug_LBeicnCn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Fs91QiDZ9q5kZ0bppGce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E4xks1MH.4IgiyZFXA9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Piry1RcHzoVCh0LKlfVy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U7OpLx18xFSEeBXXw.1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8rVhWPmULbFor62FF.w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GnoCObDwmDAfzKPGNuo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O4Q170LtmK8xu0i_Oty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eKIsM7NUzMskeAI44Oq_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53nxLAlL73MSxB_rZwNE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9QujpPqCoU.ocTlT8o3w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7.xml.rels><?xml version="1.0" encoding="UTF-8" standalone="yes"?>
<Relationships xmlns="http://schemas.openxmlformats.org/package/2006/relationships"><Relationship Id="rId1" Type="http://schemas.openxmlformats.org/officeDocument/2006/relationships/image" Target="../media/image9.jpeg"/></Relationships>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itelsider">
  <a:themeElements>
    <a:clrScheme name="Brugerdefineret 3">
      <a:dk1>
        <a:sysClr val="windowText" lastClr="000000"/>
      </a:dk1>
      <a:lt1>
        <a:sysClr val="window" lastClr="FFFFFF"/>
      </a:lt1>
      <a:dk2>
        <a:srgbClr val="1F497D"/>
      </a:dk2>
      <a:lt2>
        <a:srgbClr val="EEECE1"/>
      </a:lt2>
      <a:accent1>
        <a:srgbClr val="073820"/>
      </a:accent1>
      <a:accent2>
        <a:srgbClr val="EEECE1"/>
      </a:accent2>
      <a:accent3>
        <a:srgbClr val="632523"/>
      </a:accent3>
      <a:accent4>
        <a:srgbClr val="000000"/>
      </a:accent4>
      <a:accent5>
        <a:srgbClr val="4BACC6"/>
      </a:accent5>
      <a:accent6>
        <a:srgbClr val="F79646"/>
      </a:accent6>
      <a:hlink>
        <a:srgbClr val="0000FF"/>
      </a:hlink>
      <a:folHlink>
        <a:srgbClr val="800080"/>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571</TotalTime>
  <Words>3860</Words>
  <Application>Microsoft Office PowerPoint</Application>
  <PresentationFormat>Widescreen</PresentationFormat>
  <Paragraphs>430</Paragraphs>
  <Slides>52</Slides>
  <Notes>11</Notes>
  <HiddenSlides>0</HiddenSlides>
  <MMClips>0</MMClips>
  <ScaleCrop>false</ScaleCrop>
  <HeadingPairs>
    <vt:vector size="8" baseType="variant">
      <vt:variant>
        <vt:lpstr>Benyttede skrifttyper</vt:lpstr>
      </vt:variant>
      <vt:variant>
        <vt:i4>14</vt:i4>
      </vt:variant>
      <vt:variant>
        <vt:lpstr>Tema</vt:lpstr>
      </vt:variant>
      <vt:variant>
        <vt:i4>7</vt:i4>
      </vt:variant>
      <vt:variant>
        <vt:lpstr>Integrerede OLE-servere</vt:lpstr>
      </vt:variant>
      <vt:variant>
        <vt:i4>2</vt:i4>
      </vt:variant>
      <vt:variant>
        <vt:lpstr>Slidetitler</vt:lpstr>
      </vt:variant>
      <vt:variant>
        <vt:i4>52</vt:i4>
      </vt:variant>
    </vt:vector>
  </HeadingPairs>
  <TitlesOfParts>
    <vt:vector size="75" baseType="lpstr">
      <vt:lpstr>Aptos</vt:lpstr>
      <vt:lpstr>Arial</vt:lpstr>
      <vt:lpstr>Arial,Sans-Serif</vt:lpstr>
      <vt:lpstr>Calibri</vt:lpstr>
      <vt:lpstr>Calibri Light</vt:lpstr>
      <vt:lpstr>Century Gothic</vt:lpstr>
      <vt:lpstr>Ebrima</vt:lpstr>
      <vt:lpstr>Roboto</vt:lpstr>
      <vt:lpstr>Segoe UI</vt:lpstr>
      <vt:lpstr>Symbol</vt:lpstr>
      <vt:lpstr>Times New Roman</vt:lpstr>
      <vt:lpstr>Verdana</vt:lpstr>
      <vt:lpstr>Wingdings</vt:lpstr>
      <vt:lpstr>Wingdings 3</vt:lpstr>
      <vt:lpstr>Office-tema</vt:lpstr>
      <vt:lpstr>1_Indhold</vt:lpstr>
      <vt:lpstr>Titelsider</vt:lpstr>
      <vt:lpstr>2_Indhold</vt:lpstr>
      <vt:lpstr>Indhold</vt:lpstr>
      <vt:lpstr>1_Office-tema</vt:lpstr>
      <vt:lpstr>Ion</vt:lpstr>
      <vt:lpstr>think-cell Slide</vt:lpstr>
      <vt:lpstr>Document</vt:lpstr>
      <vt:lpstr>TR-møde Frederiksberg</vt:lpstr>
      <vt:lpstr>PowerPoint-præsentation</vt:lpstr>
      <vt:lpstr>Dagsorden:</vt:lpstr>
      <vt:lpstr>Korte Meddelelser</vt:lpstr>
      <vt:lpstr>Organiserings pjece Frederiksberg</vt:lpstr>
      <vt:lpstr>TR-dage på Frederiksberg</vt:lpstr>
      <vt:lpstr>Nyt fra Område MED </vt:lpstr>
      <vt:lpstr>APV</vt:lpstr>
      <vt:lpstr>Nyt fra Anne og Jannike</vt:lpstr>
      <vt:lpstr>Oktober “Nyt fra TR I LFS”</vt:lpstr>
      <vt:lpstr>PowerPoint-præsentation</vt:lpstr>
      <vt:lpstr>Dagsorden:</vt:lpstr>
      <vt:lpstr>Velkomst runde – Nyt fra TR/institutionerne </vt:lpstr>
      <vt:lpstr>Dagsorden:</vt:lpstr>
      <vt:lpstr>AMU kurser</vt:lpstr>
      <vt:lpstr>AMU Kurser</vt:lpstr>
      <vt:lpstr>Ramme</vt:lpstr>
      <vt:lpstr>Indhold – eksempler fra det pædagogiske område </vt:lpstr>
      <vt:lpstr>AMU i LFS 2025</vt:lpstr>
      <vt:lpstr>Dagsorden:</vt:lpstr>
      <vt:lpstr>6 ud af 7 partier har indgået budgetaftale på Frederiksberg</vt:lpstr>
      <vt:lpstr>Der skabes balance i økonomien ved at skatten holdes uændret i 2025 og ved nye besparelser og effektiviseringer</vt:lpstr>
      <vt:lpstr>Besparelserne hentes særligt på Ældre- og Omsorgsudvalget, Magistraten og ved tværgående besparelser</vt:lpstr>
      <vt:lpstr>Der er besluttet udvidelser og besparelser som vil påvirke Børne- og Ungeområdet - Skole</vt:lpstr>
      <vt:lpstr>Der er besluttet udvidelser og besparelser som vil påvirke Børne- og Ungeområdet - Dagtilbud</vt:lpstr>
      <vt:lpstr>Der er besluttet udvidelser og besparelser som vil påvirke Børne- og Ungeområdet – Tværgående BUO </vt:lpstr>
      <vt:lpstr>Tidsplan for budgetprocessen</vt:lpstr>
      <vt:lpstr>Dagsorden:</vt:lpstr>
      <vt:lpstr>Ny hjemmeside:</vt:lpstr>
      <vt:lpstr>Ny hjemmeside:</vt:lpstr>
      <vt:lpstr>Dagsorden:</vt:lpstr>
      <vt:lpstr>Tid til at mødes med nyansatte i arbejdstiden</vt:lpstr>
      <vt:lpstr>Tid til at mødes med nyansatte i arbejdstiden</vt:lpstr>
      <vt:lpstr>Tid til at mødes med nyansatte i arbejdstiden</vt:lpstr>
      <vt:lpstr>Dagsorden:</vt:lpstr>
      <vt:lpstr>Retningslinjer for vold og trusler:</vt:lpstr>
      <vt:lpstr>Der skal udarbejdes en lokal handlingsplan:</vt:lpstr>
      <vt:lpstr>Definition på vold:</vt:lpstr>
      <vt:lpstr>Definition på vold:</vt:lpstr>
      <vt:lpstr>Forebyggelse af arbejdsrelateret vold, trusler og krænkende handlinger </vt:lpstr>
      <vt:lpstr>Håndtering af arbejdsrelateret vold, trusler og krænkende handlinger </vt:lpstr>
      <vt:lpstr>Vold og trusler i fritiden </vt:lpstr>
      <vt:lpstr>Dispensation i forhold til politianmeldelse af vold på arbejdspladsen </vt:lpstr>
      <vt:lpstr> Handleberedskab i forbindelse med arbejdsrelateret vold, trusler og krænkende handlinger fra borgere </vt:lpstr>
      <vt:lpstr> Handleberedskab i forbindelse med arbejdsrelateret vold, trusler og krænkende handlinger fra borgere </vt:lpstr>
      <vt:lpstr>  Krænkende handlinger – overordnet retningslinje - indledning </vt:lpstr>
      <vt:lpstr> Frederiksberg Kommunes retningslinje for krænkende handlinger (chikane, seksuel chikane, mobning m.v.) internt på arbejdspladsen. </vt:lpstr>
      <vt:lpstr> Leders og medarbejders ansvar </vt:lpstr>
      <vt:lpstr> MED-organisationens ansvar </vt:lpstr>
      <vt:lpstr> Anmeldelse af krænkende handlinger som arbejdsulykke </vt:lpstr>
      <vt:lpstr>   Handleberedskab i forbindelse med uønsket seksuel opmærksomhed </vt:lpstr>
      <vt:lpstr>Tak for i da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møde Frederiksberg</dc:title>
  <dc:creator>Emil Solvind</dc:creator>
  <cp:lastModifiedBy>Emil Solvind</cp:lastModifiedBy>
  <cp:revision>195</cp:revision>
  <cp:lastPrinted>2021-06-08T06:49:59Z</cp:lastPrinted>
  <dcterms:created xsi:type="dcterms:W3CDTF">2021-04-16T07:24:15Z</dcterms:created>
  <dcterms:modified xsi:type="dcterms:W3CDTF">2024-10-01T08:24:22Z</dcterms:modified>
</cp:coreProperties>
</file>